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8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0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1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9380" r:id="rId2"/>
    <p:sldMasterId id="2147489384" r:id="rId3"/>
    <p:sldMasterId id="2147489401" r:id="rId4"/>
    <p:sldMasterId id="2147489455" r:id="rId5"/>
    <p:sldMasterId id="2147489459" r:id="rId6"/>
    <p:sldMasterId id="2147489824" r:id="rId7"/>
    <p:sldMasterId id="2147490304" r:id="rId8"/>
    <p:sldMasterId id="2147490432" r:id="rId9"/>
    <p:sldMasterId id="2147490456" r:id="rId10"/>
    <p:sldMasterId id="2147490565" r:id="rId11"/>
    <p:sldMasterId id="2147490590" r:id="rId12"/>
  </p:sldMasterIdLst>
  <p:notesMasterIdLst>
    <p:notesMasterId r:id="rId20"/>
  </p:notesMasterIdLst>
  <p:handoutMasterIdLst>
    <p:handoutMasterId r:id="rId21"/>
  </p:handoutMasterIdLst>
  <p:sldIdLst>
    <p:sldId id="1140" r:id="rId13"/>
    <p:sldId id="1886" r:id="rId14"/>
    <p:sldId id="1883" r:id="rId15"/>
    <p:sldId id="1887" r:id="rId16"/>
    <p:sldId id="1907" r:id="rId17"/>
    <p:sldId id="1888" r:id="rId18"/>
    <p:sldId id="1904" r:id="rId19"/>
  </p:sldIdLst>
  <p:sldSz cx="12192000" cy="6858000"/>
  <p:notesSz cx="6858000" cy="9144000"/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" charset="0"/>
        <a:ea typeface="Osaka" pitchFamily="32" charset="-128"/>
        <a:cs typeface="+mn-cs"/>
      </a:defRPr>
    </a:lvl1pPr>
    <a:lvl2pPr marL="456786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" charset="0"/>
        <a:ea typeface="Osaka" pitchFamily="32" charset="-128"/>
        <a:cs typeface="+mn-cs"/>
      </a:defRPr>
    </a:lvl2pPr>
    <a:lvl3pPr marL="913581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" charset="0"/>
        <a:ea typeface="Osaka" pitchFamily="32" charset="-128"/>
        <a:cs typeface="+mn-cs"/>
      </a:defRPr>
    </a:lvl3pPr>
    <a:lvl4pPr marL="1370367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" charset="0"/>
        <a:ea typeface="Osaka" pitchFamily="32" charset="-128"/>
        <a:cs typeface="+mn-cs"/>
      </a:defRPr>
    </a:lvl4pPr>
    <a:lvl5pPr marL="1827153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" charset="0"/>
        <a:ea typeface="Osaka" pitchFamily="32" charset="-128"/>
        <a:cs typeface="+mn-cs"/>
      </a:defRPr>
    </a:lvl5pPr>
    <a:lvl6pPr marL="2283942" algn="l" defTabSz="913581" rtl="0" eaLnBrk="1" latinLnBrk="0" hangingPunct="1">
      <a:defRPr kumimoji="1" sz="2400" kern="1200">
        <a:solidFill>
          <a:schemeClr val="tx1"/>
        </a:solidFill>
        <a:latin typeface="Times" charset="0"/>
        <a:ea typeface="Osaka" pitchFamily="32" charset="-128"/>
        <a:cs typeface="+mn-cs"/>
      </a:defRPr>
    </a:lvl6pPr>
    <a:lvl7pPr marL="2740733" algn="l" defTabSz="913581" rtl="0" eaLnBrk="1" latinLnBrk="0" hangingPunct="1">
      <a:defRPr kumimoji="1" sz="2400" kern="1200">
        <a:solidFill>
          <a:schemeClr val="tx1"/>
        </a:solidFill>
        <a:latin typeface="Times" charset="0"/>
        <a:ea typeface="Osaka" pitchFamily="32" charset="-128"/>
        <a:cs typeface="+mn-cs"/>
      </a:defRPr>
    </a:lvl7pPr>
    <a:lvl8pPr marL="3197520" algn="l" defTabSz="913581" rtl="0" eaLnBrk="1" latinLnBrk="0" hangingPunct="1">
      <a:defRPr kumimoji="1" sz="2400" kern="1200">
        <a:solidFill>
          <a:schemeClr val="tx1"/>
        </a:solidFill>
        <a:latin typeface="Times" charset="0"/>
        <a:ea typeface="Osaka" pitchFamily="32" charset="-128"/>
        <a:cs typeface="+mn-cs"/>
      </a:defRPr>
    </a:lvl8pPr>
    <a:lvl9pPr marL="3654306" algn="l" defTabSz="913581" rtl="0" eaLnBrk="1" latinLnBrk="0" hangingPunct="1">
      <a:defRPr kumimoji="1" sz="2400" kern="1200">
        <a:solidFill>
          <a:schemeClr val="tx1"/>
        </a:solidFill>
        <a:latin typeface="Times" charset="0"/>
        <a:ea typeface="Osaka" pitchFamily="3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070D45"/>
    <a:srgbClr val="FF99FF"/>
    <a:srgbClr val="99FF66"/>
    <a:srgbClr val="99FF99"/>
    <a:srgbClr val="FFCCFF"/>
    <a:srgbClr val="AFFFFF"/>
    <a:srgbClr val="66FFFF"/>
    <a:srgbClr val="CC99FF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94" autoAdjust="0"/>
    <p:restoredTop sz="85675" autoAdjust="0"/>
  </p:normalViewPr>
  <p:slideViewPr>
    <p:cSldViewPr>
      <p:cViewPr varScale="1">
        <p:scale>
          <a:sx n="54" d="100"/>
          <a:sy n="54" d="100"/>
        </p:scale>
        <p:origin x="84" y="10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2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__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__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__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___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1AF2F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87F-497F-9DEC-D8F7849C1CC9}"/>
              </c:ext>
            </c:extLst>
          </c:dPt>
          <c:dPt>
            <c:idx val="1"/>
            <c:invertIfNegative val="0"/>
            <c:bubble3D val="0"/>
            <c:spPr>
              <a:solidFill>
                <a:srgbClr val="FFFF00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87F-497F-9DEC-D8F7849C1CC9}"/>
              </c:ext>
            </c:extLst>
          </c:dPt>
          <c:dPt>
            <c:idx val="2"/>
            <c:invertIfNegative val="0"/>
            <c:bubble3D val="0"/>
            <c:spPr>
              <a:solidFill>
                <a:srgbClr val="1846F0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87F-497F-9DEC-D8F7849C1CC9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87F-497F-9DEC-D8F7849C1CC9}"/>
              </c:ext>
            </c:extLst>
          </c:dPt>
          <c:cat>
            <c:strRef>
              <c:f>Sheet1!$A$2:$A$5</c:f>
              <c:strCache>
                <c:ptCount val="4"/>
                <c:pt idx="0">
                  <c:v>カテゴリ 1</c:v>
                </c:pt>
                <c:pt idx="1">
                  <c:v>カテゴリ 2</c:v>
                </c:pt>
                <c:pt idx="2">
                  <c:v>カテゴリ 3</c:v>
                </c:pt>
                <c:pt idx="3">
                  <c:v>カテゴリ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6</c:v>
                </c:pt>
                <c:pt idx="1">
                  <c:v>17</c:v>
                </c:pt>
                <c:pt idx="2">
                  <c:v>52</c:v>
                </c:pt>
                <c:pt idx="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87F-497F-9DEC-D8F7849C1C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8"/>
        <c:overlap val="14"/>
        <c:axId val="51670016"/>
        <c:axId val="131654784"/>
      </c:barChart>
      <c:catAx>
        <c:axId val="516700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1654784"/>
        <c:crosses val="autoZero"/>
        <c:auto val="1"/>
        <c:lblAlgn val="ctr"/>
        <c:lblOffset val="100"/>
        <c:noMultiLvlLbl val="0"/>
      </c:catAx>
      <c:valAx>
        <c:axId val="131654784"/>
        <c:scaling>
          <c:orientation val="minMax"/>
          <c:max val="60"/>
        </c:scaling>
        <c:delete val="1"/>
        <c:axPos val="b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1670016"/>
        <c:crosses val="autoZero"/>
        <c:crossBetween val="between"/>
        <c:majorUnit val="20"/>
      </c:valAx>
      <c:spPr>
        <a:noFill/>
        <a:ln>
          <a:solidFill>
            <a:schemeClr val="tx1"/>
          </a:solidFill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売上高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A83-41FA-9863-2658C8AA1101}"/>
              </c:ext>
            </c:extLst>
          </c:dPt>
          <c:dPt>
            <c:idx val="1"/>
            <c:bubble3D val="0"/>
            <c:spPr>
              <a:solidFill>
                <a:srgbClr val="1846F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A83-41FA-9863-2658C8AA1101}"/>
              </c:ext>
            </c:extLst>
          </c:dPt>
          <c:dPt>
            <c:idx val="2"/>
            <c:bubble3D val="0"/>
            <c:spPr>
              <a:solidFill>
                <a:srgbClr val="FFFF0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1A83-41FA-9863-2658C8AA1101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A83-41FA-9863-2658C8AA1101}"/>
              </c:ext>
            </c:extLst>
          </c:dPt>
          <c:dPt>
            <c:idx val="4"/>
            <c:bubble3D val="0"/>
            <c:spPr>
              <a:solidFill>
                <a:srgbClr val="7030A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1A83-41FA-9863-2658C8AA1101}"/>
              </c:ext>
            </c:extLst>
          </c:dPt>
          <c:cat>
            <c:strRef>
              <c:f>Sheet1!$A$2:$A$6</c:f>
              <c:strCache>
                <c:ptCount val="4"/>
                <c:pt idx="0">
                  <c:v>第 1 四半期</c:v>
                </c:pt>
                <c:pt idx="1">
                  <c:v>第 2 四半期</c:v>
                </c:pt>
                <c:pt idx="2">
                  <c:v>第 3 四半期</c:v>
                </c:pt>
                <c:pt idx="3">
                  <c:v>第 4 四半期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1</c:v>
                </c:pt>
                <c:pt idx="1">
                  <c:v>29</c:v>
                </c:pt>
                <c:pt idx="2">
                  <c:v>22</c:v>
                </c:pt>
                <c:pt idx="3">
                  <c:v>16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83-41FA-9863-2658C8AA11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売上高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B34-4A59-8C25-C2939F31CE36}"/>
              </c:ext>
            </c:extLst>
          </c:dPt>
          <c:dPt>
            <c:idx val="1"/>
            <c:bubble3D val="0"/>
            <c:spPr>
              <a:solidFill>
                <a:srgbClr val="1846F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34-4A59-8C25-C2939F31CE36}"/>
              </c:ext>
            </c:extLst>
          </c:dPt>
          <c:dPt>
            <c:idx val="2"/>
            <c:bubble3D val="0"/>
            <c:spPr>
              <a:solidFill>
                <a:srgbClr val="FFFF0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B34-4A59-8C25-C2939F31CE36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B34-4A59-8C25-C2939F31CE36}"/>
              </c:ext>
            </c:extLst>
          </c:dPt>
          <c:cat>
            <c:strRef>
              <c:f>Sheet1!$A$2:$A$5</c:f>
              <c:strCache>
                <c:ptCount val="4"/>
                <c:pt idx="0">
                  <c:v>第 1 四半期</c:v>
                </c:pt>
                <c:pt idx="1">
                  <c:v>第 2 四半期</c:v>
                </c:pt>
                <c:pt idx="2">
                  <c:v>第 3 四半期</c:v>
                </c:pt>
                <c:pt idx="3">
                  <c:v>第 4 四半期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1</c:v>
                </c:pt>
                <c:pt idx="1">
                  <c:v>28</c:v>
                </c:pt>
                <c:pt idx="2">
                  <c:v>6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34-4A59-8C25-C2939F31CE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売上高</c:v>
                </c:pt>
              </c:strCache>
            </c:strRef>
          </c:tx>
          <c:spPr>
            <a:solidFill>
              <a:srgbClr val="1846F0"/>
            </a:solidFill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rgbClr val="FF000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FE1-477A-8C64-14261799D748}"/>
              </c:ext>
            </c:extLst>
          </c:dPt>
          <c:dPt>
            <c:idx val="1"/>
            <c:bubble3D val="0"/>
            <c:spPr>
              <a:solidFill>
                <a:srgbClr val="1846F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E7B-49C0-A07B-C040E67FCA6C}"/>
              </c:ext>
            </c:extLst>
          </c:dPt>
          <c:cat>
            <c:strRef>
              <c:f>Sheet1!$A$2:$A$3</c:f>
              <c:strCache>
                <c:ptCount val="2"/>
                <c:pt idx="0">
                  <c:v>第 1 四半期</c:v>
                </c:pt>
                <c:pt idx="1">
                  <c:v>第 2 四半期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4</c:v>
                </c:pt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E1-477A-8C64-14261799D7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836920333053752E-2"/>
          <c:y val="4.0587191193793934E-2"/>
          <c:w val="0.8902391835115212"/>
          <c:h val="0.910708179373653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1">
                  <c:v>カテゴリ 1</c:v>
                </c:pt>
                <c:pt idx="2">
                  <c:v>カテゴリ 2</c:v>
                </c:pt>
                <c:pt idx="3">
                  <c:v>カテゴリ 3</c:v>
                </c:pt>
                <c:pt idx="4">
                  <c:v>カテゴリ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2</c:v>
                </c:pt>
                <c:pt idx="1">
                  <c:v>75</c:v>
                </c:pt>
                <c:pt idx="2">
                  <c:v>70</c:v>
                </c:pt>
                <c:pt idx="3">
                  <c:v>50</c:v>
                </c:pt>
                <c:pt idx="4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CB-440A-9D7C-9489728D7FB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rgbClr val="1846F0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1">
                  <c:v>カテゴリ 1</c:v>
                </c:pt>
                <c:pt idx="2">
                  <c:v>カテゴリ 2</c:v>
                </c:pt>
                <c:pt idx="3">
                  <c:v>カテゴリ 3</c:v>
                </c:pt>
                <c:pt idx="4">
                  <c:v>カテゴリ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0</c:v>
                </c:pt>
                <c:pt idx="1">
                  <c:v>81</c:v>
                </c:pt>
                <c:pt idx="2">
                  <c:v>80</c:v>
                </c:pt>
                <c:pt idx="3">
                  <c:v>60</c:v>
                </c:pt>
                <c:pt idx="4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CB-440A-9D7C-9489728D7F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1737088"/>
        <c:axId val="131658816"/>
      </c:barChart>
      <c:catAx>
        <c:axId val="517370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1658816"/>
        <c:crosses val="autoZero"/>
        <c:auto val="1"/>
        <c:lblAlgn val="ctr"/>
        <c:lblOffset val="100"/>
        <c:noMultiLvlLbl val="0"/>
      </c:catAx>
      <c:valAx>
        <c:axId val="13165881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2">
                  <a:lumMod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1737088"/>
        <c:crosses val="autoZero"/>
        <c:crossBetween val="between"/>
        <c:majorUnit val="20"/>
      </c:valAx>
      <c:spPr>
        <a:noFill/>
        <a:ln>
          <a:solidFill>
            <a:schemeClr val="tx1"/>
          </a:solidFill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47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47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47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FF8E961-C260-4B0F-B5C9-04B5C633B4DE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180426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2437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45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noProof="0"/>
              <a:t>マスタ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45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45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D8B7720-33B5-44EB-9666-CBC65C2BF82A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516237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Osaka" pitchFamily="32" charset="-128"/>
        <a:cs typeface="+mn-cs"/>
      </a:defRPr>
    </a:lvl1pPr>
    <a:lvl2pPr marL="456786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Osaka" pitchFamily="32" charset="-128"/>
        <a:cs typeface="+mn-cs"/>
      </a:defRPr>
    </a:lvl2pPr>
    <a:lvl3pPr marL="913581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Osaka" pitchFamily="32" charset="-128"/>
        <a:cs typeface="+mn-cs"/>
      </a:defRPr>
    </a:lvl3pPr>
    <a:lvl4pPr marL="1370367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Osaka" pitchFamily="32" charset="-128"/>
        <a:cs typeface="+mn-cs"/>
      </a:defRPr>
    </a:lvl4pPr>
    <a:lvl5pPr marL="1827153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" charset="0"/>
        <a:ea typeface="Osaka" pitchFamily="32" charset="-128"/>
        <a:cs typeface="+mn-cs"/>
      </a:defRPr>
    </a:lvl5pPr>
    <a:lvl6pPr marL="2283942" algn="l" defTabSz="913581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0733" algn="l" defTabSz="913581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197520" algn="l" defTabSz="913581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4306" algn="l" defTabSz="913581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9pPr>
          </a:lstStyle>
          <a:p>
            <a:pPr eaLnBrk="1" hangingPunct="1"/>
            <a:fld id="{A4025DE5-1F36-418D-9C42-F1AD4874E4FC}" type="slidenum">
              <a:rPr lang="en-US" altLang="ja-JP" sz="1200" smtClean="0"/>
              <a:pPr eaLnBrk="1" hangingPunct="1"/>
              <a:t>1</a:t>
            </a:fld>
            <a:endParaRPr lang="en-US" altLang="ja-JP" sz="1200" dirty="0"/>
          </a:p>
        </p:txBody>
      </p:sp>
      <p:sp>
        <p:nvSpPr>
          <p:cNvPr id="2447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4474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ja-JP" altLang="ja-JP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8B7720-33B5-44EB-9666-CBC65C2BF82A}" type="slidenum">
              <a:rPr lang="en-US" altLang="ja-JP" smtClean="0"/>
              <a:pPr>
                <a:defRPr/>
              </a:pPr>
              <a:t>5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8302175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890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5891" name="ノート プレースホルダー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3027">
              <a:defRPr/>
            </a:pPr>
            <a:endParaRPr lang="en-US" altLang="ja-JP" dirty="0">
              <a:latin typeface="+mn-lt"/>
              <a:ea typeface="+mn-ea"/>
              <a:cs typeface="ＭＳ Ｐゴシック" charset="0"/>
            </a:endParaRPr>
          </a:p>
        </p:txBody>
      </p:sp>
      <p:sp>
        <p:nvSpPr>
          <p:cNvPr id="165892" name="日付プレースホルダー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1834" indent="-285321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1284" indent="-228257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597797" indent="-228257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4311" indent="-228257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0824" indent="-228257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67337" indent="-228257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3850" indent="-228257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0364" indent="-228257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50" charset="-128"/>
                <a:cs typeface="+mn-cs"/>
              </a:rPr>
              <a:t>Ｃ－２－１</a:t>
            </a:r>
          </a:p>
        </p:txBody>
      </p:sp>
    </p:spTree>
    <p:extLst>
      <p:ext uri="{BB962C8B-B14F-4D97-AF65-F5344CB8AC3E}">
        <p14:creationId xmlns:p14="http://schemas.microsoft.com/office/powerpoint/2010/main" val="2390929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8B7720-33B5-44EB-9666-CBC65C2BF82A}" type="slidenum">
              <a:rPr lang="en-US" altLang="ja-JP" smtClean="0"/>
              <a:pPr>
                <a:defRPr/>
              </a:pPr>
              <a:t>7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35540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914400" y="2131349"/>
            <a:ext cx="10363200" cy="1470025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786" indent="0" algn="ctr">
              <a:buNone/>
              <a:defRPr/>
            </a:lvl2pPr>
            <a:lvl3pPr marL="913581" indent="0" algn="ctr">
              <a:buNone/>
              <a:defRPr/>
            </a:lvl3pPr>
            <a:lvl4pPr marL="1370367" indent="0" algn="ctr">
              <a:buNone/>
              <a:defRPr/>
            </a:lvl4pPr>
            <a:lvl5pPr marL="1827153" indent="0" algn="ctr">
              <a:buNone/>
              <a:defRPr/>
            </a:lvl5pPr>
            <a:lvl6pPr marL="2283942" indent="0" algn="ctr">
              <a:buNone/>
              <a:defRPr/>
            </a:lvl6pPr>
            <a:lvl7pPr marL="2740733" indent="0" algn="ctr">
              <a:buNone/>
              <a:defRPr/>
            </a:lvl7pPr>
            <a:lvl8pPr marL="3197520" indent="0" algn="ctr">
              <a:buNone/>
              <a:defRPr/>
            </a:lvl8pPr>
            <a:lvl9pPr marL="3654306" indent="0" algn="ctr">
              <a:buNone/>
              <a:defRPr/>
            </a:lvl9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B22F59-2107-43BF-A6A6-9630C98AE91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5427199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79D523-977A-47E7-9B96-10AEAE495B15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12396006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8686803" y="609600"/>
            <a:ext cx="2590800" cy="5486400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914403" y="609600"/>
            <a:ext cx="7569200" cy="5486400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9B399-527F-4699-8529-9010BE7F3401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3283124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タイトル、テキスト、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half" idx="1"/>
          </p:nvPr>
        </p:nvSpPr>
        <p:spPr>
          <a:xfrm>
            <a:off x="914400" y="1981200"/>
            <a:ext cx="10363200" cy="198120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914400" y="4114800"/>
            <a:ext cx="10363200" cy="1981200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297993-CAD6-459B-99D9-BB2443C165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02349756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2179" y="1873678"/>
            <a:ext cx="11042649" cy="1470025"/>
          </a:xfrm>
        </p:spPr>
        <p:txBody>
          <a:bodyPr/>
          <a:lstStyle>
            <a:lvl1pPr>
              <a:defRPr sz="3600" b="1" smtClean="0"/>
            </a:lvl1pPr>
          </a:lstStyle>
          <a:p>
            <a:pPr lvl="0"/>
            <a:r>
              <a:rPr lang="ja-JP" altLang="en-US" noProof="0" dirty="0" smtClean="0"/>
              <a:t>マスタ タイトルの書式設定</a:t>
            </a:r>
          </a:p>
        </p:txBody>
      </p:sp>
      <p:sp>
        <p:nvSpPr>
          <p:cNvPr id="1331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2179" y="3681413"/>
            <a:ext cx="11042649" cy="1752600"/>
          </a:xfrm>
        </p:spPr>
        <p:txBody>
          <a:bodyPr/>
          <a:lstStyle>
            <a:lvl1pPr marL="0" indent="0">
              <a:buFontTx/>
              <a:buNone/>
              <a:defRPr sz="2000" smtClean="0">
                <a:solidFill>
                  <a:schemeClr val="bg1"/>
                </a:solidFill>
                <a:latin typeface="Verdana" panose="020B0604030504040204" pitchFamily="34" charset="0"/>
                <a:ea typeface="メイリオ" panose="020B060403050404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noProof="0" dirty="0" smtClean="0"/>
              <a:t>マスタ サブタイトルの書式設定</a:t>
            </a:r>
          </a:p>
        </p:txBody>
      </p:sp>
      <p:sp>
        <p:nvSpPr>
          <p:cNvPr id="2" name="正方形/長方形 1"/>
          <p:cNvSpPr/>
          <p:nvPr userDrawn="1"/>
        </p:nvSpPr>
        <p:spPr>
          <a:xfrm>
            <a:off x="127382" y="942124"/>
            <a:ext cx="11919045" cy="286603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ja-JP" alt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84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492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2179" y="1873655"/>
            <a:ext cx="11042649" cy="1470025"/>
          </a:xfrm>
        </p:spPr>
        <p:txBody>
          <a:bodyPr/>
          <a:lstStyle>
            <a:lvl1pPr>
              <a:defRPr sz="3600" b="1" smtClean="0"/>
            </a:lvl1pPr>
          </a:lstStyle>
          <a:p>
            <a:pPr lvl="0"/>
            <a:r>
              <a:rPr lang="ja-JP" altLang="en-US" noProof="0" dirty="0" smtClean="0"/>
              <a:t>マスタ タイトルの書式設定</a:t>
            </a:r>
          </a:p>
        </p:txBody>
      </p:sp>
      <p:sp>
        <p:nvSpPr>
          <p:cNvPr id="1331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2179" y="3681413"/>
            <a:ext cx="11042649" cy="1752600"/>
          </a:xfrm>
        </p:spPr>
        <p:txBody>
          <a:bodyPr/>
          <a:lstStyle>
            <a:lvl1pPr marL="0" indent="0">
              <a:buFontTx/>
              <a:buNone/>
              <a:defRPr sz="2000" smtClean="0">
                <a:solidFill>
                  <a:schemeClr val="bg1"/>
                </a:solidFill>
                <a:latin typeface="Verdana" panose="020B0604030504040204" pitchFamily="34" charset="0"/>
                <a:ea typeface="メイリオ" panose="020B060403050404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noProof="0" dirty="0" smtClean="0"/>
              <a:t>マスタ サブタイトルの書式設定</a:t>
            </a:r>
          </a:p>
        </p:txBody>
      </p:sp>
      <p:sp>
        <p:nvSpPr>
          <p:cNvPr id="2" name="正方形/長方形 1"/>
          <p:cNvSpPr/>
          <p:nvPr userDrawn="1"/>
        </p:nvSpPr>
        <p:spPr>
          <a:xfrm>
            <a:off x="127382" y="942101"/>
            <a:ext cx="11919045" cy="286603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ja-JP" alt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08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>
          <a:xfrm>
            <a:off x="609600" y="6356755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ja-JP" altLang="en-US" sz="1800" dirty="0">
              <a:solidFill>
                <a:prstClr val="black">
                  <a:tint val="75000"/>
                </a:prstClr>
              </a:solidFill>
              <a:latin typeface="HGPｺﾞｼｯｸE"/>
              <a:ea typeface="HGPｺﾞｼｯｸE"/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>
          <a:xfrm>
            <a:off x="4165600" y="6356755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ja-JP" altLang="en-US" sz="1800" dirty="0">
              <a:solidFill>
                <a:prstClr val="black">
                  <a:tint val="75000"/>
                </a:prstClr>
              </a:solidFill>
              <a:latin typeface="HGPｺﾞｼｯｸE"/>
              <a:ea typeface="HGPｺﾞｼｯｸE"/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>
          <a:xfrm>
            <a:off x="8737600" y="6356755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9F2CC8D-4EA2-4C26-B655-B04A118794CC}" type="slidenum">
              <a:rPr lang="ja-JP" altLang="en-US" sz="1800" smtClean="0">
                <a:solidFill>
                  <a:prstClr val="black">
                    <a:tint val="75000"/>
                  </a:prstClr>
                </a:solidFill>
                <a:latin typeface="HGPｺﾞｼｯｸE"/>
                <a:ea typeface="HGPｺﾞｼｯｸE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ja-JP" altLang="en-US" sz="1800" dirty="0">
              <a:solidFill>
                <a:prstClr val="black">
                  <a:tint val="75000"/>
                </a:prstClr>
              </a:solidFill>
              <a:latin typeface="HGPｺﾞｼｯｸE"/>
              <a:ea typeface="HGPｺﾞｼｯｸE"/>
            </a:endParaRPr>
          </a:p>
        </p:txBody>
      </p:sp>
    </p:spTree>
    <p:extLst>
      <p:ext uri="{BB962C8B-B14F-4D97-AF65-F5344CB8AC3E}">
        <p14:creationId xmlns:p14="http://schemas.microsoft.com/office/powerpoint/2010/main" val="376560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0825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2179" y="1873662"/>
            <a:ext cx="11042649" cy="1470025"/>
          </a:xfrm>
        </p:spPr>
        <p:txBody>
          <a:bodyPr/>
          <a:lstStyle>
            <a:lvl1pPr>
              <a:defRPr sz="3600" b="1" smtClean="0"/>
            </a:lvl1pPr>
          </a:lstStyle>
          <a:p>
            <a:pPr lvl="0"/>
            <a:r>
              <a:rPr lang="ja-JP" altLang="en-US" noProof="0" dirty="0" smtClean="0"/>
              <a:t>マスタ タイトルの書式設定</a:t>
            </a:r>
          </a:p>
        </p:txBody>
      </p:sp>
      <p:sp>
        <p:nvSpPr>
          <p:cNvPr id="1331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2179" y="3681413"/>
            <a:ext cx="11042649" cy="1752600"/>
          </a:xfrm>
        </p:spPr>
        <p:txBody>
          <a:bodyPr/>
          <a:lstStyle>
            <a:lvl1pPr marL="0" indent="0">
              <a:buFontTx/>
              <a:buNone/>
              <a:defRPr sz="2000" smtClean="0">
                <a:solidFill>
                  <a:schemeClr val="bg1"/>
                </a:solidFill>
                <a:latin typeface="Verdana" panose="020B0604030504040204" pitchFamily="34" charset="0"/>
                <a:ea typeface="メイリオ" panose="020B060403050404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noProof="0" dirty="0" smtClean="0"/>
              <a:t>マスタ サブタイトルの書式設定</a:t>
            </a:r>
          </a:p>
        </p:txBody>
      </p:sp>
      <p:sp>
        <p:nvSpPr>
          <p:cNvPr id="2" name="正方形/長方形 1"/>
          <p:cNvSpPr/>
          <p:nvPr userDrawn="1"/>
        </p:nvSpPr>
        <p:spPr>
          <a:xfrm>
            <a:off x="127382" y="942108"/>
            <a:ext cx="11919045" cy="286603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ja-JP" alt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151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57312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3633D2-52E2-42DC-9776-5B5A519107D5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77476199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タイトル、テキスト、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2312" y="349662"/>
            <a:ext cx="9410700" cy="949325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half" idx="1"/>
          </p:nvPr>
        </p:nvSpPr>
        <p:spPr>
          <a:xfrm>
            <a:off x="609600" y="1479550"/>
            <a:ext cx="5384800" cy="5029200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quarter" idx="2"/>
          </p:nvPr>
        </p:nvSpPr>
        <p:spPr>
          <a:xfrm>
            <a:off x="6197600" y="1479550"/>
            <a:ext cx="5384800" cy="2438400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コンテンツ プレースホルダー 4"/>
          <p:cNvSpPr>
            <a:spLocks noGrp="1"/>
          </p:cNvSpPr>
          <p:nvPr>
            <p:ph sz="quarter" idx="3"/>
          </p:nvPr>
        </p:nvSpPr>
        <p:spPr>
          <a:xfrm>
            <a:off x="6197600" y="4070350"/>
            <a:ext cx="5384800" cy="2438400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17430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2179" y="1873602"/>
            <a:ext cx="11042649" cy="1470025"/>
          </a:xfrm>
        </p:spPr>
        <p:txBody>
          <a:bodyPr/>
          <a:lstStyle>
            <a:lvl1pPr>
              <a:defRPr sz="3600" b="1" smtClean="0"/>
            </a:lvl1pPr>
          </a:lstStyle>
          <a:p>
            <a:pPr lvl="0"/>
            <a:r>
              <a:rPr lang="ja-JP" altLang="en-US" noProof="0" dirty="0" smtClean="0"/>
              <a:t>マスタ タイトルの書式設定</a:t>
            </a:r>
          </a:p>
        </p:txBody>
      </p:sp>
      <p:sp>
        <p:nvSpPr>
          <p:cNvPr id="1331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2179" y="3681413"/>
            <a:ext cx="11042649" cy="1752600"/>
          </a:xfrm>
        </p:spPr>
        <p:txBody>
          <a:bodyPr/>
          <a:lstStyle>
            <a:lvl1pPr marL="0" indent="0">
              <a:buFontTx/>
              <a:buNone/>
              <a:defRPr sz="2000" smtClean="0">
                <a:solidFill>
                  <a:schemeClr val="bg1"/>
                </a:solidFill>
                <a:latin typeface="Verdana" panose="020B0604030504040204" pitchFamily="34" charset="0"/>
                <a:ea typeface="メイリオ" panose="020B060403050404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noProof="0" dirty="0" smtClean="0"/>
              <a:t>マスタ サブタイトルの書式設定</a:t>
            </a:r>
          </a:p>
        </p:txBody>
      </p:sp>
      <p:sp>
        <p:nvSpPr>
          <p:cNvPr id="2" name="正方形/長方形 1"/>
          <p:cNvSpPr/>
          <p:nvPr userDrawn="1"/>
        </p:nvSpPr>
        <p:spPr>
          <a:xfrm>
            <a:off x="127382" y="942048"/>
            <a:ext cx="11919045" cy="286603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ja-JP" alt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84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4492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2179" y="1873577"/>
            <a:ext cx="11042649" cy="1470025"/>
          </a:xfrm>
        </p:spPr>
        <p:txBody>
          <a:bodyPr/>
          <a:lstStyle>
            <a:lvl1pPr>
              <a:defRPr sz="3600" b="1" smtClean="0"/>
            </a:lvl1pPr>
          </a:lstStyle>
          <a:p>
            <a:pPr lvl="0"/>
            <a:r>
              <a:rPr lang="ja-JP" altLang="en-US" noProof="0" dirty="0" smtClean="0"/>
              <a:t>マスタ タイトルの書式設定</a:t>
            </a:r>
          </a:p>
        </p:txBody>
      </p:sp>
      <p:sp>
        <p:nvSpPr>
          <p:cNvPr id="1331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2179" y="3681413"/>
            <a:ext cx="11042649" cy="1752600"/>
          </a:xfrm>
        </p:spPr>
        <p:txBody>
          <a:bodyPr/>
          <a:lstStyle>
            <a:lvl1pPr marL="0" indent="0">
              <a:buFontTx/>
              <a:buNone/>
              <a:defRPr sz="2000" smtClean="0">
                <a:solidFill>
                  <a:schemeClr val="bg1"/>
                </a:solidFill>
                <a:latin typeface="Verdana" panose="020B0604030504040204" pitchFamily="34" charset="0"/>
                <a:ea typeface="メイリオ" panose="020B060403050404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noProof="0" dirty="0" smtClean="0"/>
              <a:t>マスタ サブタイトルの書式設定</a:t>
            </a:r>
          </a:p>
        </p:txBody>
      </p:sp>
      <p:sp>
        <p:nvSpPr>
          <p:cNvPr id="2" name="正方形/長方形 1"/>
          <p:cNvSpPr/>
          <p:nvPr userDrawn="1"/>
        </p:nvSpPr>
        <p:spPr>
          <a:xfrm>
            <a:off x="127382" y="942023"/>
            <a:ext cx="11919045" cy="286603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ja-JP" alt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08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>
          <a:xfrm>
            <a:off x="609600" y="6356677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ja-JP" altLang="en-US" sz="1800" dirty="0">
              <a:solidFill>
                <a:prstClr val="black">
                  <a:tint val="75000"/>
                </a:prstClr>
              </a:solidFill>
              <a:latin typeface="HGPｺﾞｼｯｸE"/>
              <a:ea typeface="HGPｺﾞｼｯｸE"/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>
          <a:xfrm>
            <a:off x="4165600" y="6356677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ja-JP" altLang="en-US" sz="1800" dirty="0">
              <a:solidFill>
                <a:prstClr val="black">
                  <a:tint val="75000"/>
                </a:prstClr>
              </a:solidFill>
              <a:latin typeface="HGPｺﾞｼｯｸE"/>
              <a:ea typeface="HGPｺﾞｼｯｸE"/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>
          <a:xfrm>
            <a:off x="8737600" y="6356677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9F2CC8D-4EA2-4C26-B655-B04A118794CC}" type="slidenum">
              <a:rPr lang="ja-JP" altLang="en-US" sz="1800" smtClean="0">
                <a:solidFill>
                  <a:prstClr val="black">
                    <a:tint val="75000"/>
                  </a:prstClr>
                </a:solidFill>
                <a:latin typeface="HGPｺﾞｼｯｸE"/>
                <a:ea typeface="HGPｺﾞｼｯｸE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ja-JP" altLang="en-US" sz="1800" dirty="0">
              <a:solidFill>
                <a:prstClr val="black">
                  <a:tint val="75000"/>
                </a:prstClr>
              </a:solidFill>
              <a:latin typeface="HGPｺﾞｼｯｸE"/>
              <a:ea typeface="HGPｺﾞｼｯｸE"/>
            </a:endParaRPr>
          </a:p>
        </p:txBody>
      </p:sp>
    </p:spTree>
    <p:extLst>
      <p:ext uri="{BB962C8B-B14F-4D97-AF65-F5344CB8AC3E}">
        <p14:creationId xmlns:p14="http://schemas.microsoft.com/office/powerpoint/2010/main" val="376560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0825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40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347" indent="0" algn="ctr">
              <a:buNone/>
              <a:defRPr sz="2000"/>
            </a:lvl2pPr>
            <a:lvl3pPr marL="912695" indent="0" algn="ctr">
              <a:buNone/>
              <a:defRPr sz="1800"/>
            </a:lvl3pPr>
            <a:lvl4pPr marL="1369044" indent="0" algn="ctr">
              <a:buNone/>
              <a:defRPr sz="1600"/>
            </a:lvl4pPr>
            <a:lvl5pPr marL="1825391" indent="0" algn="ctr">
              <a:buNone/>
              <a:defRPr sz="1600"/>
            </a:lvl5pPr>
            <a:lvl6pPr marL="2281739" indent="0" algn="ctr">
              <a:buNone/>
              <a:defRPr sz="1600"/>
            </a:lvl6pPr>
            <a:lvl7pPr marL="2738086" indent="0" algn="ctr">
              <a:buNone/>
              <a:defRPr sz="1600"/>
            </a:lvl7pPr>
            <a:lvl8pPr marL="3194426" indent="0" algn="ctr">
              <a:buNone/>
              <a:defRPr sz="1600"/>
            </a:lvl8pPr>
            <a:lvl9pPr marL="3650779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704126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45765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7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634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269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90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53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17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80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44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07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646758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3" y="1825625"/>
            <a:ext cx="51816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55408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963084" y="440782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963084" y="2906722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86" indent="0">
              <a:buNone/>
              <a:defRPr sz="1800"/>
            </a:lvl2pPr>
            <a:lvl3pPr marL="913581" indent="0">
              <a:buNone/>
              <a:defRPr sz="1600"/>
            </a:lvl3pPr>
            <a:lvl4pPr marL="1370367" indent="0">
              <a:buNone/>
              <a:defRPr sz="1400"/>
            </a:lvl4pPr>
            <a:lvl5pPr marL="1827153" indent="0">
              <a:buNone/>
              <a:defRPr sz="1400"/>
            </a:lvl5pPr>
            <a:lvl6pPr marL="2283942" indent="0">
              <a:buNone/>
              <a:defRPr sz="1400"/>
            </a:lvl6pPr>
            <a:lvl7pPr marL="2740733" indent="0">
              <a:buNone/>
              <a:defRPr sz="1400"/>
            </a:lvl7pPr>
            <a:lvl8pPr marL="3197520" indent="0">
              <a:buNone/>
              <a:defRPr sz="1400"/>
            </a:lvl8pPr>
            <a:lvl9pPr marL="3654306" indent="0">
              <a:buNone/>
              <a:defRPr sz="14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895E9B-E79B-4C2E-88C2-7AAD23AF771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806396545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34"/>
            <a:ext cx="105156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47" indent="0">
              <a:buNone/>
              <a:defRPr sz="2000" b="1"/>
            </a:lvl2pPr>
            <a:lvl3pPr marL="912695" indent="0">
              <a:buNone/>
              <a:defRPr sz="1800" b="1"/>
            </a:lvl3pPr>
            <a:lvl4pPr marL="1369044" indent="0">
              <a:buNone/>
              <a:defRPr sz="1600" b="1"/>
            </a:lvl4pPr>
            <a:lvl5pPr marL="1825391" indent="0">
              <a:buNone/>
              <a:defRPr sz="1600" b="1"/>
            </a:lvl5pPr>
            <a:lvl6pPr marL="2281739" indent="0">
              <a:buNone/>
              <a:defRPr sz="1600" b="1"/>
            </a:lvl6pPr>
            <a:lvl7pPr marL="2738086" indent="0">
              <a:buNone/>
              <a:defRPr sz="1600" b="1"/>
            </a:lvl7pPr>
            <a:lvl8pPr marL="3194426" indent="0">
              <a:buNone/>
              <a:defRPr sz="1600" b="1"/>
            </a:lvl8pPr>
            <a:lvl9pPr marL="3650779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29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47" indent="0">
              <a:buNone/>
              <a:defRPr sz="2000" b="1"/>
            </a:lvl2pPr>
            <a:lvl3pPr marL="912695" indent="0">
              <a:buNone/>
              <a:defRPr sz="1800" b="1"/>
            </a:lvl3pPr>
            <a:lvl4pPr marL="1369044" indent="0">
              <a:buNone/>
              <a:defRPr sz="1600" b="1"/>
            </a:lvl4pPr>
            <a:lvl5pPr marL="1825391" indent="0">
              <a:buNone/>
              <a:defRPr sz="1600" b="1"/>
            </a:lvl5pPr>
            <a:lvl6pPr marL="2281739" indent="0">
              <a:buNone/>
              <a:defRPr sz="1600" b="1"/>
            </a:lvl6pPr>
            <a:lvl7pPr marL="2738086" indent="0">
              <a:buNone/>
              <a:defRPr sz="1600" b="1"/>
            </a:lvl7pPr>
            <a:lvl8pPr marL="3194426" indent="0">
              <a:buNone/>
              <a:defRPr sz="1600" b="1"/>
            </a:lvl8pPr>
            <a:lvl9pPr marL="3650779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29" y="2505075"/>
            <a:ext cx="5183188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642581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825743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77353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51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347" indent="0">
              <a:buNone/>
              <a:defRPr sz="1400"/>
            </a:lvl2pPr>
            <a:lvl3pPr marL="912695" indent="0">
              <a:buNone/>
              <a:defRPr sz="1200"/>
            </a:lvl3pPr>
            <a:lvl4pPr marL="1369044" indent="0">
              <a:buNone/>
              <a:defRPr sz="1000"/>
            </a:lvl4pPr>
            <a:lvl5pPr marL="1825391" indent="0">
              <a:buNone/>
              <a:defRPr sz="1000"/>
            </a:lvl5pPr>
            <a:lvl6pPr marL="2281739" indent="0">
              <a:buNone/>
              <a:defRPr sz="1000"/>
            </a:lvl6pPr>
            <a:lvl7pPr marL="2738086" indent="0">
              <a:buNone/>
              <a:defRPr sz="1000"/>
            </a:lvl7pPr>
            <a:lvl8pPr marL="3194426" indent="0">
              <a:buNone/>
              <a:defRPr sz="1000"/>
            </a:lvl8pPr>
            <a:lvl9pPr marL="3650779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912326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51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6347" indent="0">
              <a:buNone/>
              <a:defRPr sz="2800"/>
            </a:lvl2pPr>
            <a:lvl3pPr marL="912695" indent="0">
              <a:buNone/>
              <a:defRPr sz="2400"/>
            </a:lvl3pPr>
            <a:lvl4pPr marL="1369044" indent="0">
              <a:buNone/>
              <a:defRPr sz="2000"/>
            </a:lvl4pPr>
            <a:lvl5pPr marL="1825391" indent="0">
              <a:buNone/>
              <a:defRPr sz="2000"/>
            </a:lvl5pPr>
            <a:lvl6pPr marL="2281739" indent="0">
              <a:buNone/>
              <a:defRPr sz="2000"/>
            </a:lvl6pPr>
            <a:lvl7pPr marL="2738086" indent="0">
              <a:buNone/>
              <a:defRPr sz="2000"/>
            </a:lvl7pPr>
            <a:lvl8pPr marL="3194426" indent="0">
              <a:buNone/>
              <a:defRPr sz="2000"/>
            </a:lvl8pPr>
            <a:lvl9pPr marL="3650779" indent="0">
              <a:buNone/>
              <a:defRPr sz="2000"/>
            </a:lvl9pPr>
          </a:lstStyle>
          <a:p>
            <a:r>
              <a:rPr lang="ja-JP" altLang="en-US" dirty="0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347" indent="0">
              <a:buNone/>
              <a:defRPr sz="1400"/>
            </a:lvl2pPr>
            <a:lvl3pPr marL="912695" indent="0">
              <a:buNone/>
              <a:defRPr sz="1200"/>
            </a:lvl3pPr>
            <a:lvl4pPr marL="1369044" indent="0">
              <a:buNone/>
              <a:defRPr sz="1000"/>
            </a:lvl4pPr>
            <a:lvl5pPr marL="1825391" indent="0">
              <a:buNone/>
              <a:defRPr sz="1000"/>
            </a:lvl5pPr>
            <a:lvl6pPr marL="2281739" indent="0">
              <a:buNone/>
              <a:defRPr sz="1000"/>
            </a:lvl6pPr>
            <a:lvl7pPr marL="2738086" indent="0">
              <a:buNone/>
              <a:defRPr sz="1000"/>
            </a:lvl7pPr>
            <a:lvl8pPr marL="3194426" indent="0">
              <a:buNone/>
              <a:defRPr sz="1000"/>
            </a:lvl8pPr>
            <a:lvl9pPr marL="3650779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504570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160435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26" y="365127"/>
            <a:ext cx="2628900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6" y="365127"/>
            <a:ext cx="7734300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06136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" y="0"/>
            <a:ext cx="12191405" cy="1590978"/>
          </a:xfrm>
          <a:prstGeom prst="rect">
            <a:avLst/>
          </a:prstGeom>
        </p:spPr>
      </p:pic>
      <p:sp>
        <p:nvSpPr>
          <p:cNvPr id="4" name="タイトル プレースホルダ 8"/>
          <p:cNvSpPr>
            <a:spLocks noGrp="1"/>
          </p:cNvSpPr>
          <p:nvPr>
            <p:ph type="title"/>
          </p:nvPr>
        </p:nvSpPr>
        <p:spPr>
          <a:xfrm>
            <a:off x="446617" y="71414"/>
            <a:ext cx="10972800" cy="1000132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kumimoji="1" lang="ja-JP" altLang="en-US" sz="2800" b="1" i="0" kern="1200" baseline="0" dirty="0">
                <a:solidFill>
                  <a:schemeClr val="accent1"/>
                </a:solidFill>
                <a:latin typeface="Arial" pitchFamily="34" charset="0"/>
                <a:ea typeface="ＭＳ Ｐゴシック" pitchFamily="50" charset="-128"/>
                <a:cs typeface="+mj-cs"/>
              </a:defRPr>
            </a:lvl1pPr>
          </a:lstStyle>
          <a:p>
            <a:r>
              <a:rPr kumimoji="1" lang="ja-JP" altLang="en-US" dirty="0"/>
              <a:t>マスタ タイトルの書式設定</a:t>
            </a:r>
          </a:p>
        </p:txBody>
      </p:sp>
      <p:pic>
        <p:nvPicPr>
          <p:cNvPr id="10" name="図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" y="3125664"/>
            <a:ext cx="5985157" cy="3747740"/>
          </a:xfrm>
          <a:prstGeom prst="rect">
            <a:avLst/>
          </a:prstGeom>
        </p:spPr>
      </p:pic>
      <p:sp>
        <p:nvSpPr>
          <p:cNvPr id="5" name="正方形/長方形 4"/>
          <p:cNvSpPr/>
          <p:nvPr userDrawn="1"/>
        </p:nvSpPr>
        <p:spPr>
          <a:xfrm>
            <a:off x="1" y="6642556"/>
            <a:ext cx="57259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800" dirty="0">
                <a:solidFill>
                  <a:schemeClr val="bg1"/>
                </a:solidFill>
              </a:rPr>
              <a:t>EFT0101</a:t>
            </a:r>
            <a:endParaRPr lang="ja-JP" alt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5630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白紙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" y="0"/>
            <a:ext cx="12191405" cy="1590978"/>
          </a:xfrm>
          <a:prstGeom prst="rect">
            <a:avLst/>
          </a:prstGeom>
        </p:spPr>
      </p:pic>
      <p:sp>
        <p:nvSpPr>
          <p:cNvPr id="4" name="タイトル プレースホルダ 8"/>
          <p:cNvSpPr>
            <a:spLocks noGrp="1"/>
          </p:cNvSpPr>
          <p:nvPr>
            <p:ph type="title"/>
          </p:nvPr>
        </p:nvSpPr>
        <p:spPr>
          <a:xfrm>
            <a:off x="446617" y="71414"/>
            <a:ext cx="10972800" cy="1000132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kumimoji="1" lang="ja-JP" altLang="en-US" sz="2800" b="1" i="0" kern="1200" baseline="0" dirty="0">
                <a:solidFill>
                  <a:schemeClr val="accent1"/>
                </a:solidFill>
                <a:latin typeface="Arial" pitchFamily="34" charset="0"/>
                <a:ea typeface="ＭＳ Ｐゴシック" pitchFamily="50" charset="-128"/>
                <a:cs typeface="+mj-cs"/>
              </a:defRPr>
            </a:lvl1pPr>
          </a:lstStyle>
          <a:p>
            <a:r>
              <a:rPr kumimoji="1" lang="ja-JP" altLang="en-US" dirty="0"/>
              <a:t>マスタ タイトルの書式設定</a:t>
            </a:r>
          </a:p>
        </p:txBody>
      </p:sp>
      <p:sp>
        <p:nvSpPr>
          <p:cNvPr id="5" name="正方形/長方形 4"/>
          <p:cNvSpPr/>
          <p:nvPr userDrawn="1"/>
        </p:nvSpPr>
        <p:spPr>
          <a:xfrm>
            <a:off x="1" y="6642556"/>
            <a:ext cx="57259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800" dirty="0">
                <a:solidFill>
                  <a:schemeClr val="bg1"/>
                </a:solidFill>
              </a:rPr>
              <a:t>EFT0103</a:t>
            </a:r>
            <a:endParaRPr lang="ja-JP" alt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7903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 dirty="0"/>
              <a:t>マスター サブタイトルの書式設定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67022"/>
            <a:ext cx="12191405" cy="1590978"/>
          </a:xfrm>
          <a:prstGeom prst="rect">
            <a:avLst/>
          </a:prstGeom>
        </p:spPr>
      </p:pic>
      <p:sp>
        <p:nvSpPr>
          <p:cNvPr id="5" name="正方形/長方形 4"/>
          <p:cNvSpPr/>
          <p:nvPr userDrawn="1"/>
        </p:nvSpPr>
        <p:spPr>
          <a:xfrm>
            <a:off x="1" y="6642556"/>
            <a:ext cx="57259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800" dirty="0">
                <a:solidFill>
                  <a:schemeClr val="bg1"/>
                </a:solidFill>
              </a:rPr>
              <a:t>EFT0103</a:t>
            </a:r>
            <a:endParaRPr lang="ja-JP" alt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241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6DE792-37DF-4662-A60D-FE60BB3A51FD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33535871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75830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00" y="-18256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>
          <a:xfrm>
            <a:off x="609601" y="6400414"/>
            <a:ext cx="1934633" cy="276999"/>
          </a:xfrm>
          <a:prstGeom prst="rect">
            <a:avLst/>
          </a:prstGeom>
        </p:spPr>
        <p:txBody>
          <a:bodyPr/>
          <a:lstStyle/>
          <a:p>
            <a:fld id="{FA43C0A4-AEFA-4BC1-9F2A-CA1BCFF28068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24474" y="6581389"/>
            <a:ext cx="5437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ABDBF27-7B8F-4FA6-990D-DD6CBAC55EA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5040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828800" y="3886202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899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3152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963084" y="440691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963084" y="29067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3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0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7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0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7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34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2802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9475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78" indent="0">
              <a:buNone/>
              <a:defRPr sz="2000" b="1"/>
            </a:lvl2pPr>
            <a:lvl3pPr marL="913358" indent="0">
              <a:buNone/>
              <a:defRPr sz="1800" b="1"/>
            </a:lvl3pPr>
            <a:lvl4pPr marL="1370038" indent="0">
              <a:buNone/>
              <a:defRPr sz="1600" b="1"/>
            </a:lvl4pPr>
            <a:lvl5pPr marL="1826715" indent="0">
              <a:buNone/>
              <a:defRPr sz="1600" b="1"/>
            </a:lvl5pPr>
            <a:lvl6pPr marL="2283396" indent="0">
              <a:buNone/>
              <a:defRPr sz="1600" b="1"/>
            </a:lvl6pPr>
            <a:lvl7pPr marL="2740074" indent="0">
              <a:buNone/>
              <a:defRPr sz="1600" b="1"/>
            </a:lvl7pPr>
            <a:lvl8pPr marL="3196748" indent="0">
              <a:buNone/>
              <a:defRPr sz="1600" b="1"/>
            </a:lvl8pPr>
            <a:lvl9pPr marL="3653431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193368" y="1535114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78" indent="0">
              <a:buNone/>
              <a:defRPr sz="2000" b="1"/>
            </a:lvl2pPr>
            <a:lvl3pPr marL="913358" indent="0">
              <a:buNone/>
              <a:defRPr sz="1800" b="1"/>
            </a:lvl3pPr>
            <a:lvl4pPr marL="1370038" indent="0">
              <a:buNone/>
              <a:defRPr sz="1600" b="1"/>
            </a:lvl4pPr>
            <a:lvl5pPr marL="1826715" indent="0">
              <a:buNone/>
              <a:defRPr sz="1600" b="1"/>
            </a:lvl5pPr>
            <a:lvl6pPr marL="2283396" indent="0">
              <a:buNone/>
              <a:defRPr sz="1600" b="1"/>
            </a:lvl6pPr>
            <a:lvl7pPr marL="2740074" indent="0">
              <a:buNone/>
              <a:defRPr sz="1600" b="1"/>
            </a:lvl7pPr>
            <a:lvl8pPr marL="3196748" indent="0">
              <a:buNone/>
              <a:defRPr sz="1600" b="1"/>
            </a:lvl8pPr>
            <a:lvl9pPr marL="3653431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3479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3854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6368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766739" y="27306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78" indent="0">
              <a:buNone/>
              <a:defRPr sz="1200"/>
            </a:lvl2pPr>
            <a:lvl3pPr marL="913358" indent="0">
              <a:buNone/>
              <a:defRPr sz="1000"/>
            </a:lvl3pPr>
            <a:lvl4pPr marL="1370038" indent="0">
              <a:buNone/>
              <a:defRPr sz="900"/>
            </a:lvl4pPr>
            <a:lvl5pPr marL="1826715" indent="0">
              <a:buNone/>
              <a:defRPr sz="900"/>
            </a:lvl5pPr>
            <a:lvl6pPr marL="2283396" indent="0">
              <a:buNone/>
              <a:defRPr sz="900"/>
            </a:lvl6pPr>
            <a:lvl7pPr marL="2740074" indent="0">
              <a:buNone/>
              <a:defRPr sz="900"/>
            </a:lvl7pPr>
            <a:lvl8pPr marL="3196748" indent="0">
              <a:buNone/>
              <a:defRPr sz="900"/>
            </a:lvl8pPr>
            <a:lvl9pPr marL="3653431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269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86" indent="0">
              <a:buNone/>
              <a:defRPr sz="2000" b="1"/>
            </a:lvl2pPr>
            <a:lvl3pPr marL="913581" indent="0">
              <a:buNone/>
              <a:defRPr sz="1800" b="1"/>
            </a:lvl3pPr>
            <a:lvl4pPr marL="1370367" indent="0">
              <a:buNone/>
              <a:defRPr sz="1600" b="1"/>
            </a:lvl4pPr>
            <a:lvl5pPr marL="1827153" indent="0">
              <a:buNone/>
              <a:defRPr sz="1600" b="1"/>
            </a:lvl5pPr>
            <a:lvl6pPr marL="2283942" indent="0">
              <a:buNone/>
              <a:defRPr sz="1600" b="1"/>
            </a:lvl6pPr>
            <a:lvl7pPr marL="2740733" indent="0">
              <a:buNone/>
              <a:defRPr sz="1600" b="1"/>
            </a:lvl7pPr>
            <a:lvl8pPr marL="3197520" indent="0">
              <a:buNone/>
              <a:defRPr sz="1600" b="1"/>
            </a:lvl8pPr>
            <a:lvl9pPr marL="3654306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193792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86" indent="0">
              <a:buNone/>
              <a:defRPr sz="2000" b="1"/>
            </a:lvl2pPr>
            <a:lvl3pPr marL="913581" indent="0">
              <a:buNone/>
              <a:defRPr sz="1800" b="1"/>
            </a:lvl3pPr>
            <a:lvl4pPr marL="1370367" indent="0">
              <a:buNone/>
              <a:defRPr sz="1600" b="1"/>
            </a:lvl4pPr>
            <a:lvl5pPr marL="1827153" indent="0">
              <a:buNone/>
              <a:defRPr sz="1600" b="1"/>
            </a:lvl5pPr>
            <a:lvl6pPr marL="2283942" indent="0">
              <a:buNone/>
              <a:defRPr sz="1600" b="1"/>
            </a:lvl6pPr>
            <a:lvl7pPr marL="2740733" indent="0">
              <a:buNone/>
              <a:defRPr sz="1600" b="1"/>
            </a:lvl7pPr>
            <a:lvl8pPr marL="3197520" indent="0">
              <a:buNone/>
              <a:defRPr sz="1600" b="1"/>
            </a:lvl8pPr>
            <a:lvl9pPr marL="3654306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619379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1D1C36-EC2F-4971-95AA-B6C87FC9D38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011319035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78" indent="0">
              <a:buNone/>
              <a:defRPr sz="2800"/>
            </a:lvl2pPr>
            <a:lvl3pPr marL="913358" indent="0">
              <a:buNone/>
              <a:defRPr sz="2400"/>
            </a:lvl3pPr>
            <a:lvl4pPr marL="1370038" indent="0">
              <a:buNone/>
              <a:defRPr sz="2000"/>
            </a:lvl4pPr>
            <a:lvl5pPr marL="1826715" indent="0">
              <a:buNone/>
              <a:defRPr sz="2000"/>
            </a:lvl5pPr>
            <a:lvl6pPr marL="2283396" indent="0">
              <a:buNone/>
              <a:defRPr sz="2000"/>
            </a:lvl6pPr>
            <a:lvl7pPr marL="2740074" indent="0">
              <a:buNone/>
              <a:defRPr sz="2000"/>
            </a:lvl7pPr>
            <a:lvl8pPr marL="3196748" indent="0">
              <a:buNone/>
              <a:defRPr sz="2000"/>
            </a:lvl8pPr>
            <a:lvl9pPr marL="3653431" indent="0">
              <a:buNone/>
              <a:defRPr sz="2000"/>
            </a:lvl9pPr>
          </a:lstStyle>
          <a:p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78" indent="0">
              <a:buNone/>
              <a:defRPr sz="1200"/>
            </a:lvl2pPr>
            <a:lvl3pPr marL="913358" indent="0">
              <a:buNone/>
              <a:defRPr sz="1000"/>
            </a:lvl3pPr>
            <a:lvl4pPr marL="1370038" indent="0">
              <a:buNone/>
              <a:defRPr sz="900"/>
            </a:lvl4pPr>
            <a:lvl5pPr marL="1826715" indent="0">
              <a:buNone/>
              <a:defRPr sz="900"/>
            </a:lvl5pPr>
            <a:lvl6pPr marL="2283396" indent="0">
              <a:buNone/>
              <a:defRPr sz="900"/>
            </a:lvl6pPr>
            <a:lvl7pPr marL="2740074" indent="0">
              <a:buNone/>
              <a:defRPr sz="900"/>
            </a:lvl7pPr>
            <a:lvl8pPr marL="3196748" indent="0">
              <a:buNone/>
              <a:defRPr sz="900"/>
            </a:lvl8pPr>
            <a:lvl9pPr marL="3653431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4862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96525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8839201" y="274650"/>
            <a:ext cx="27432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09600" y="274650"/>
            <a:ext cx="80264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0685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62F5478-BA2E-48B1-9AEC-FAAF38381B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6615B5B3-901B-4E06-9A5D-973FB34C9E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4895E6E-D7BE-4D1A-BD02-50240229C7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F64C04D-E4A6-4E5F-988C-F58C9F9B0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97C15CB6-7080-4603-903E-5895F23DB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9709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60CA64C-B0E0-4AE7-9AE8-514BC0F5B4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160FCDDB-23B4-4C20-914C-7CCE77EC0A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E380BDF2-E5DC-4D9C-AAED-07DEB4DE74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C1CB374-200E-4C7E-81DF-9B064C9F6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DF8394E-CC25-42D9-8E15-D0EED0329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4356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F762432-272C-47F3-B1C7-A3DBA0E5C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4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3885DC74-4BFD-44B3-9D02-38C466231A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9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364E901-89E6-4520-ADEB-4C02DDAFF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7B44562-D168-4B16-819E-5E2ED3D63C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82CC7CCF-0627-4DA0-BEBF-B353CA005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4431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221B246-0272-465E-84CF-320C52E37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4D8012DF-70E6-407B-A4DC-F2BD38CB9B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3C080A8C-ADAE-433C-B695-6E66BCE00B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DEE5545E-9459-403D-ABD1-71995332E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29F14967-9AEE-4DF7-8EA8-259A1B587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A840796D-6F30-433B-8448-A0A5267EA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9664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E69CA41-56E6-4020-BE82-4B494520E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DA63BBC6-4C10-482E-BE2C-A6CDED3C85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BAAC08FD-DD97-4B1A-983E-644B7F4B9B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8210D1A6-D77B-4B0E-B888-DF0C493061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F0E778D4-65A8-4A13-A377-8071CFB4C2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A8AE2276-81B8-417C-A2FE-C29855211D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54B0E812-20E3-4B4A-BF0D-F43E4E9BB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31D1868B-095B-4D49-AC06-6C9B030E7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987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91EF7A8-B5BB-4872-AAD4-A1EC2DECC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6D7FBADA-EC1F-4153-B21E-336FD90E73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7B9EE6B-E93C-4929-9DE1-9889B6B16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A02DCAC8-477B-48DB-8BBE-3A6BF2922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9881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3AD32F43-E9E4-443B-A7A4-9CD1947FB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636D902B-B008-486E-AF76-361488296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9AA535AC-B49A-46CE-807C-99A7699D7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1370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C2309F-8161-4C6A-A0F8-F10A876C7D9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760891114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AD1493E-77AF-40D1-AC26-CCCC6709A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4C7ABC36-1373-453A-90D4-2865C9F9E9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31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93FCBA63-4A25-4046-962C-101094EAED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7D604A8-A0AA-41CF-97F1-4CB766042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D13C4595-77C0-4602-8E8B-A8640630A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993FF747-38E1-4282-868B-6DF8B6603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3402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0027B49-CD2C-42A6-B6E4-684F8500F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8300173A-F7D1-4876-8681-27E22CD9B0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31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kumimoji="1" lang="ja-JP" altLang="en-US" dirty="0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B3DBF4BB-F06B-48E0-8411-33A936D6E8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F803B865-B051-4F67-9D47-71B8AB9EE2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93EF99A8-F750-419D-87FA-81C7C4DBD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FBDF0090-BD57-4E73-AE62-9DCBA1322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4034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3B10A4A-427C-4FCC-ABB2-BA5B3C36A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B239326C-2ECE-419F-861C-4E776908D2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5139F28-64EC-4684-A7AB-50EE3D1A30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276B49D1-B8F2-42E9-BD47-5C56EF899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395506D-82B5-44CE-AC87-4CBEFB0BF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5020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96CC037B-F10F-46DB-B0F2-4E851E642D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54903EDF-C9AD-4C6F-93F8-460C353CE2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0C4C24D-3010-4A8F-B0FB-C4A1DB7F7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B8F38BB-94F2-458B-9295-C5EE9C13A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2A2860D-E96C-4A47-B480-0A766A628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5204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E6F979D-9F23-064C-B764-97EB8744F8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BBEC9B40-D730-5340-9F1B-D5909A1530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50BB4100-0E66-AA49-9EAA-E28CCA492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D6AE6E2-F132-E941-9C09-E3388F200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70963F4-05E1-5B49-AE7D-4ACF3FC78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582685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EA712E5-D225-A44E-942B-6CA56C21F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4894D2A-94D8-8340-81C9-4F9672E9B7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276FEE1F-CAB6-AA4A-AF96-296E29F47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B1BC10C-5C23-AB4A-ABF5-886AC870C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6151866-23C3-0E48-AC19-F2989E933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058073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4103B08-CEC9-8641-BF4B-50EB572D5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62D99A5-B2F7-B14D-B5D6-C6915225F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1F63D87F-8DBC-E74E-BFDF-E5570B096F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C5DC07D9-6BAF-A74A-A68E-4E29DEC22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9E5F6A8-740A-824E-884A-678F4708E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621021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93132A6-55C1-C646-AA4C-2E85AE0FA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CE9A818-0F34-ED4D-B316-7CA6E42F32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FEAC6A49-B6B9-BF44-A468-4C12EF94E4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0872B8A-78CB-F74E-BF37-5CDB65D9A9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822C9322-2186-754E-B64C-D0841EF0D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04435A00-DB51-AC46-8413-BBD9CC11A8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514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762C839-EEAC-2842-A24B-B0052542F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169277D2-0A31-3740-AA86-4A13DA8647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766E9571-3262-2447-8B78-B3E464D599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B29F5CD8-FC05-C041-8252-14680FFBC9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85D892E8-C0F1-B241-8623-08DDDFF392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CC30F64E-ED74-8940-A141-611039BA3D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C35C4C77-D417-814E-9307-721885F79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513F9386-5D02-B04E-80E3-52B32A850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844541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8CCA61F-B458-6348-B433-98854E64E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F03824E2-FCA0-6641-81EF-6A775F8EF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F3DCAE35-F45B-0945-B318-01BA416C0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3F88482A-05CE-4F48-AFB2-9E51F9BF4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188436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FF0897-7FD8-486C-AE24-0184E1F8225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58870360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C8560098-DFEB-284C-AC38-3869ED81A3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976A61A7-B10F-F649-834F-4FB94FE0D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63C18C00-50BB-704C-81C8-27E5CE00F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828764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5777D19-57DC-D645-9AC1-D601E24F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B5BFE98-B73F-304E-8373-7C336C8241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C829B8F8-9F11-7A4E-BA84-FE306BA27D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A4EDE11E-26DE-1A4B-A1B8-F77E46FBB2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ACBA842-6357-E94C-A5CC-E0B5E63E9D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A276C118-E430-6341-9BF7-D3CB0F8EB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2659357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9F5AF68-D41C-F34C-9713-10197B4B8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3E861FAA-787C-8D40-A1B0-3DF28E7596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 dirty="0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C597213-7AB3-8045-8DF4-3F93C5D3FB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BFF51AB8-FE71-F448-AD19-9AEF212C78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FBF0130A-A54A-6247-9CA3-8CDA141BE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E8FE5B5F-5FBE-764C-9BDA-25B35DD4F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0617035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C888CC7-5684-604D-9672-290CC88D81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2BDA4E44-6C2B-004E-82AD-E187E5FBF6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DEE77AE0-6072-7647-A532-BDF88519D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C862979-B86A-9440-974C-689295637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9BCD75EB-1A14-7F43-BCE0-71005CCF4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337127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4760F865-F234-254C-A684-FF4E31C5614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92853D6C-41F7-B541-99C9-6E3A011732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9BD07AD-415A-864D-AF58-83EB8D3EA3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FE5C039-84EB-B24C-A72E-79F4BCF67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64B98573-AF33-9F4E-AC12-426919880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68709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＋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8827C21-9688-DF49-A952-4646E8B10E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917" y="371392"/>
            <a:ext cx="10562167" cy="723449"/>
          </a:xfrm>
        </p:spPr>
        <p:txBody>
          <a:bodyPr wrap="none" tIns="180000"/>
          <a:lstStyle>
            <a:lvl1pPr>
              <a:defRPr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EBEACA6B-9328-8141-B353-5EA838164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en-US" altLang="ja-JP" dirty="0"/>
              <a:t>confidential</a:t>
            </a:r>
            <a:endParaRPr kumimoji="1" lang="ja-JP" altLang="en-US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33AB86FF-AA53-5543-8B9D-E9036754B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5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fld id="{4BF841FE-8C7A-4745-A04E-7DCE7375A0F8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F7819CE9-4A78-A645-B4E5-15F64F5F5CA6}"/>
              </a:ext>
            </a:extLst>
          </p:cNvPr>
          <p:cNvGrpSpPr/>
          <p:nvPr userDrawn="1"/>
        </p:nvGrpSpPr>
        <p:grpSpPr>
          <a:xfrm>
            <a:off x="399207" y="265689"/>
            <a:ext cx="861660" cy="915414"/>
            <a:chOff x="5987573" y="-1960510"/>
            <a:chExt cx="872744" cy="1409571"/>
          </a:xfrm>
        </p:grpSpPr>
        <p:sp>
          <p:nvSpPr>
            <p:cNvPr id="12" name="フリーフォーム 11">
              <a:extLst>
                <a:ext uri="{FF2B5EF4-FFF2-40B4-BE49-F238E27FC236}">
                  <a16:creationId xmlns:a16="http://schemas.microsoft.com/office/drawing/2014/main" id="{6DE38DF0-6AE4-E442-9CD9-A008239236FC}"/>
                </a:ext>
              </a:extLst>
            </p:cNvPr>
            <p:cNvSpPr/>
            <p:nvPr/>
          </p:nvSpPr>
          <p:spPr>
            <a:xfrm rot="5400000">
              <a:off x="5810553" y="-1384053"/>
              <a:ext cx="1084316" cy="256931"/>
            </a:xfrm>
            <a:custGeom>
              <a:avLst/>
              <a:gdLst>
                <a:gd name="connsiteX0" fmla="*/ 1015883 w 1016073"/>
                <a:gd name="connsiteY0" fmla="*/ -353 h 240760"/>
                <a:gd name="connsiteX1" fmla="*/ 1008139 w 1016073"/>
                <a:gd name="connsiteY1" fmla="*/ 9638 h 240760"/>
                <a:gd name="connsiteX2" fmla="*/ 985249 w 1016073"/>
                <a:gd name="connsiteY2" fmla="*/ 36988 h 240760"/>
                <a:gd name="connsiteX3" fmla="*/ 967662 w 1016073"/>
                <a:gd name="connsiteY3" fmla="*/ 55921 h 240760"/>
                <a:gd name="connsiteX4" fmla="*/ 945537 w 1016073"/>
                <a:gd name="connsiteY4" fmla="*/ 76785 h 240760"/>
                <a:gd name="connsiteX5" fmla="*/ 888211 w 1016073"/>
                <a:gd name="connsiteY5" fmla="*/ 122709 h 240760"/>
                <a:gd name="connsiteX6" fmla="*/ 852754 w 1016073"/>
                <a:gd name="connsiteY6" fmla="*/ 145920 h 240760"/>
                <a:gd name="connsiteX7" fmla="*/ 812844 w 1016073"/>
                <a:gd name="connsiteY7" fmla="*/ 167999 h 240760"/>
                <a:gd name="connsiteX8" fmla="*/ 721508 w 1016073"/>
                <a:gd name="connsiteY8" fmla="*/ 206168 h 240760"/>
                <a:gd name="connsiteX9" fmla="*/ 617946 w 1016073"/>
                <a:gd name="connsiteY9" fmla="*/ 231365 h 240760"/>
                <a:gd name="connsiteX10" fmla="*/ 397831 w 1016073"/>
                <a:gd name="connsiteY10" fmla="*/ 231365 h 240760"/>
                <a:gd name="connsiteX11" fmla="*/ 294269 w 1016073"/>
                <a:gd name="connsiteY11" fmla="*/ 206196 h 240760"/>
                <a:gd name="connsiteX12" fmla="*/ 202905 w 1016073"/>
                <a:gd name="connsiteY12" fmla="*/ 168055 h 240760"/>
                <a:gd name="connsiteX13" fmla="*/ 162995 w 1016073"/>
                <a:gd name="connsiteY13" fmla="*/ 145975 h 240760"/>
                <a:gd name="connsiteX14" fmla="*/ 127538 w 1016073"/>
                <a:gd name="connsiteY14" fmla="*/ 122765 h 240760"/>
                <a:gd name="connsiteX15" fmla="*/ 96592 w 1016073"/>
                <a:gd name="connsiteY15" fmla="*/ 99416 h 240760"/>
                <a:gd name="connsiteX16" fmla="*/ 70184 w 1016073"/>
                <a:gd name="connsiteY16" fmla="*/ 76813 h 240760"/>
                <a:gd name="connsiteX17" fmla="*/ 48115 w 1016073"/>
                <a:gd name="connsiteY17" fmla="*/ 55921 h 240760"/>
                <a:gd name="connsiteX18" fmla="*/ 30614 w 1016073"/>
                <a:gd name="connsiteY18" fmla="*/ 37043 h 240760"/>
                <a:gd name="connsiteX19" fmla="*/ 7610 w 1016073"/>
                <a:gd name="connsiteY19" fmla="*/ 9582 h 240760"/>
                <a:gd name="connsiteX20" fmla="*/ -106 w 1016073"/>
                <a:gd name="connsiteY20" fmla="*/ -381 h 240760"/>
                <a:gd name="connsiteX21" fmla="*/ 10531 w 1016073"/>
                <a:gd name="connsiteY21" fmla="*/ 6601 h 240760"/>
                <a:gd name="connsiteX22" fmla="*/ 40258 w 1016073"/>
                <a:gd name="connsiteY22" fmla="*/ 26334 h 240760"/>
                <a:gd name="connsiteX23" fmla="*/ 61589 w 1016073"/>
                <a:gd name="connsiteY23" fmla="*/ 39830 h 240760"/>
                <a:gd name="connsiteX24" fmla="*/ 87118 w 1016073"/>
                <a:gd name="connsiteY24" fmla="*/ 54817 h 240760"/>
                <a:gd name="connsiteX25" fmla="*/ 149521 w 1016073"/>
                <a:gd name="connsiteY25" fmla="*/ 87134 h 240760"/>
                <a:gd name="connsiteX26" fmla="*/ 185914 w 1016073"/>
                <a:gd name="connsiteY26" fmla="*/ 103390 h 240760"/>
                <a:gd name="connsiteX27" fmla="*/ 225625 w 1016073"/>
                <a:gd name="connsiteY27" fmla="*/ 118652 h 240760"/>
                <a:gd name="connsiteX28" fmla="*/ 312849 w 1016073"/>
                <a:gd name="connsiteY28" fmla="*/ 145092 h 240760"/>
                <a:gd name="connsiteX29" fmla="*/ 408241 w 1016073"/>
                <a:gd name="connsiteY29" fmla="*/ 162423 h 240760"/>
                <a:gd name="connsiteX30" fmla="*/ 607649 w 1016073"/>
                <a:gd name="connsiteY30" fmla="*/ 162423 h 240760"/>
                <a:gd name="connsiteX31" fmla="*/ 703070 w 1016073"/>
                <a:gd name="connsiteY31" fmla="*/ 145119 h 240760"/>
                <a:gd name="connsiteX32" fmla="*/ 790293 w 1016073"/>
                <a:gd name="connsiteY32" fmla="*/ 118707 h 240760"/>
                <a:gd name="connsiteX33" fmla="*/ 830005 w 1016073"/>
                <a:gd name="connsiteY33" fmla="*/ 103417 h 240760"/>
                <a:gd name="connsiteX34" fmla="*/ 866398 w 1016073"/>
                <a:gd name="connsiteY34" fmla="*/ 87162 h 240760"/>
                <a:gd name="connsiteX35" fmla="*/ 928801 w 1016073"/>
                <a:gd name="connsiteY35" fmla="*/ 54789 h 240760"/>
                <a:gd name="connsiteX36" fmla="*/ 954330 w 1016073"/>
                <a:gd name="connsiteY36" fmla="*/ 39803 h 240760"/>
                <a:gd name="connsiteX37" fmla="*/ 975519 w 1016073"/>
                <a:gd name="connsiteY37" fmla="*/ 26362 h 240760"/>
                <a:gd name="connsiteX38" fmla="*/ 1005331 w 1016073"/>
                <a:gd name="connsiteY38" fmla="*/ 6547 h 240760"/>
                <a:gd name="connsiteX39" fmla="*/ 1015968 w 1016073"/>
                <a:gd name="connsiteY39" fmla="*/ -463 h 240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6073" h="240760">
                  <a:moveTo>
                    <a:pt x="1015883" y="-353"/>
                  </a:moveTo>
                  <a:lnTo>
                    <a:pt x="1008139" y="9638"/>
                  </a:lnTo>
                  <a:cubicBezTo>
                    <a:pt x="1002750" y="15902"/>
                    <a:pt x="996112" y="25921"/>
                    <a:pt x="985249" y="36988"/>
                  </a:cubicBezTo>
                  <a:lnTo>
                    <a:pt x="967662" y="55921"/>
                  </a:lnTo>
                  <a:cubicBezTo>
                    <a:pt x="961024" y="62544"/>
                    <a:pt x="953479" y="69306"/>
                    <a:pt x="945537" y="76785"/>
                  </a:cubicBezTo>
                  <a:cubicBezTo>
                    <a:pt x="927390" y="93196"/>
                    <a:pt x="908247" y="108532"/>
                    <a:pt x="888211" y="122709"/>
                  </a:cubicBezTo>
                  <a:cubicBezTo>
                    <a:pt x="877177" y="130575"/>
                    <a:pt x="865093" y="137889"/>
                    <a:pt x="852754" y="145920"/>
                  </a:cubicBezTo>
                  <a:cubicBezTo>
                    <a:pt x="839961" y="153068"/>
                    <a:pt x="826942" y="161016"/>
                    <a:pt x="812844" y="167999"/>
                  </a:cubicBezTo>
                  <a:cubicBezTo>
                    <a:pt x="783417" y="182915"/>
                    <a:pt x="752887" y="195674"/>
                    <a:pt x="721508" y="206168"/>
                  </a:cubicBezTo>
                  <a:cubicBezTo>
                    <a:pt x="687687" y="217088"/>
                    <a:pt x="653069" y="225511"/>
                    <a:pt x="617946" y="231365"/>
                  </a:cubicBezTo>
                  <a:cubicBezTo>
                    <a:pt x="545085" y="243275"/>
                    <a:pt x="470692" y="243275"/>
                    <a:pt x="397831" y="231365"/>
                  </a:cubicBezTo>
                  <a:cubicBezTo>
                    <a:pt x="362707" y="225533"/>
                    <a:pt x="328087" y="217119"/>
                    <a:pt x="294269" y="206196"/>
                  </a:cubicBezTo>
                  <a:cubicBezTo>
                    <a:pt x="262894" y="195679"/>
                    <a:pt x="232357" y="182931"/>
                    <a:pt x="202905" y="168055"/>
                  </a:cubicBezTo>
                  <a:cubicBezTo>
                    <a:pt x="188722" y="161154"/>
                    <a:pt x="175788" y="153206"/>
                    <a:pt x="162995" y="145975"/>
                  </a:cubicBezTo>
                  <a:cubicBezTo>
                    <a:pt x="150684" y="137944"/>
                    <a:pt x="138601" y="130603"/>
                    <a:pt x="127538" y="122765"/>
                  </a:cubicBezTo>
                  <a:cubicBezTo>
                    <a:pt x="116476" y="114927"/>
                    <a:pt x="105924" y="107448"/>
                    <a:pt x="96592" y="99416"/>
                  </a:cubicBezTo>
                  <a:cubicBezTo>
                    <a:pt x="87260" y="91385"/>
                    <a:pt x="78154" y="84264"/>
                    <a:pt x="70184" y="76813"/>
                  </a:cubicBezTo>
                  <a:cubicBezTo>
                    <a:pt x="62213" y="69361"/>
                    <a:pt x="54696" y="62544"/>
                    <a:pt x="48115" y="55921"/>
                  </a:cubicBezTo>
                  <a:lnTo>
                    <a:pt x="30614" y="37043"/>
                  </a:lnTo>
                  <a:cubicBezTo>
                    <a:pt x="19835" y="26003"/>
                    <a:pt x="12943" y="15820"/>
                    <a:pt x="7610" y="9582"/>
                  </a:cubicBezTo>
                  <a:cubicBezTo>
                    <a:pt x="2277" y="3345"/>
                    <a:pt x="-106" y="-381"/>
                    <a:pt x="-106" y="-381"/>
                  </a:cubicBezTo>
                  <a:lnTo>
                    <a:pt x="10531" y="6601"/>
                  </a:lnTo>
                  <a:cubicBezTo>
                    <a:pt x="17509" y="11155"/>
                    <a:pt x="27239" y="18221"/>
                    <a:pt x="40258" y="26334"/>
                  </a:cubicBezTo>
                  <a:cubicBezTo>
                    <a:pt x="46697" y="30391"/>
                    <a:pt x="53817" y="34890"/>
                    <a:pt x="61589" y="39830"/>
                  </a:cubicBezTo>
                  <a:cubicBezTo>
                    <a:pt x="69673" y="44274"/>
                    <a:pt x="78041" y="49490"/>
                    <a:pt x="87118" y="54817"/>
                  </a:cubicBezTo>
                  <a:cubicBezTo>
                    <a:pt x="105442" y="65194"/>
                    <a:pt x="126432" y="76067"/>
                    <a:pt x="149521" y="87134"/>
                  </a:cubicBezTo>
                  <a:cubicBezTo>
                    <a:pt x="161095" y="92654"/>
                    <a:pt x="173405" y="97843"/>
                    <a:pt x="185914" y="103390"/>
                  </a:cubicBezTo>
                  <a:cubicBezTo>
                    <a:pt x="198877" y="108192"/>
                    <a:pt x="211698" y="114126"/>
                    <a:pt x="225625" y="118652"/>
                  </a:cubicBezTo>
                  <a:cubicBezTo>
                    <a:pt x="254215" y="128915"/>
                    <a:pt x="283328" y="137740"/>
                    <a:pt x="312849" y="145092"/>
                  </a:cubicBezTo>
                  <a:cubicBezTo>
                    <a:pt x="344323" y="152443"/>
                    <a:pt x="376162" y="158228"/>
                    <a:pt x="408241" y="162423"/>
                  </a:cubicBezTo>
                  <a:cubicBezTo>
                    <a:pt x="474455" y="170448"/>
                    <a:pt x="541436" y="170448"/>
                    <a:pt x="607649" y="162423"/>
                  </a:cubicBezTo>
                  <a:cubicBezTo>
                    <a:pt x="639739" y="158248"/>
                    <a:pt x="671588" y="152472"/>
                    <a:pt x="703070" y="145119"/>
                  </a:cubicBezTo>
                  <a:cubicBezTo>
                    <a:pt x="732590" y="137773"/>
                    <a:pt x="761703" y="128958"/>
                    <a:pt x="790293" y="118707"/>
                  </a:cubicBezTo>
                  <a:cubicBezTo>
                    <a:pt x="804164" y="114154"/>
                    <a:pt x="816985" y="108220"/>
                    <a:pt x="830005" y="103417"/>
                  </a:cubicBezTo>
                  <a:cubicBezTo>
                    <a:pt x="842543" y="97898"/>
                    <a:pt x="854825" y="92627"/>
                    <a:pt x="866398" y="87162"/>
                  </a:cubicBezTo>
                  <a:cubicBezTo>
                    <a:pt x="889516" y="76123"/>
                    <a:pt x="910534" y="65083"/>
                    <a:pt x="928801" y="54789"/>
                  </a:cubicBezTo>
                  <a:cubicBezTo>
                    <a:pt x="937850" y="49462"/>
                    <a:pt x="946218" y="44246"/>
                    <a:pt x="954330" y="39803"/>
                  </a:cubicBezTo>
                  <a:cubicBezTo>
                    <a:pt x="962045" y="34918"/>
                    <a:pt x="969137" y="30447"/>
                    <a:pt x="975519" y="26362"/>
                  </a:cubicBezTo>
                  <a:cubicBezTo>
                    <a:pt x="988482" y="18358"/>
                    <a:pt x="998438" y="11073"/>
                    <a:pt x="1005331" y="6547"/>
                  </a:cubicBezTo>
                  <a:lnTo>
                    <a:pt x="1015968" y="-463"/>
                  </a:lnTo>
                </a:path>
              </a:pathLst>
            </a:custGeom>
            <a:solidFill>
              <a:srgbClr val="0085CD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  <p:sp>
          <p:nvSpPr>
            <p:cNvPr id="13" name="フリーフォーム 12">
              <a:extLst>
                <a:ext uri="{FF2B5EF4-FFF2-40B4-BE49-F238E27FC236}">
                  <a16:creationId xmlns:a16="http://schemas.microsoft.com/office/drawing/2014/main" id="{5D999D04-66F4-2C4A-846A-B097B3747454}"/>
                </a:ext>
              </a:extLst>
            </p:cNvPr>
            <p:cNvSpPr/>
            <p:nvPr/>
          </p:nvSpPr>
          <p:spPr>
            <a:xfrm rot="5400000">
              <a:off x="5449773" y="-1422710"/>
              <a:ext cx="1409571" cy="333972"/>
            </a:xfrm>
            <a:custGeom>
              <a:avLst/>
              <a:gdLst>
                <a:gd name="connsiteX0" fmla="*/ 1307053 w 1320858"/>
                <a:gd name="connsiteY0" fmla="*/ 8644 h 312953"/>
                <a:gd name="connsiteX1" fmla="*/ 1268335 w 1320858"/>
                <a:gd name="connsiteY1" fmla="*/ 34393 h 312953"/>
                <a:gd name="connsiteX2" fmla="*/ 1240735 w 1320858"/>
                <a:gd name="connsiteY2" fmla="*/ 51864 h 312953"/>
                <a:gd name="connsiteX3" fmla="*/ 1207604 w 1320858"/>
                <a:gd name="connsiteY3" fmla="*/ 71375 h 312953"/>
                <a:gd name="connsiteX4" fmla="*/ 1126423 w 1320858"/>
                <a:gd name="connsiteY4" fmla="*/ 113408 h 312953"/>
                <a:gd name="connsiteX5" fmla="*/ 1079110 w 1320858"/>
                <a:gd name="connsiteY5" fmla="*/ 134577 h 312953"/>
                <a:gd name="connsiteX6" fmla="*/ 1027570 w 1320858"/>
                <a:gd name="connsiteY6" fmla="*/ 154448 h 312953"/>
                <a:gd name="connsiteX7" fmla="*/ 914109 w 1320858"/>
                <a:gd name="connsiteY7" fmla="*/ 188836 h 312953"/>
                <a:gd name="connsiteX8" fmla="*/ 790010 w 1320858"/>
                <a:gd name="connsiteY8" fmla="*/ 211301 h 312953"/>
                <a:gd name="connsiteX9" fmla="*/ 660381 w 1320858"/>
                <a:gd name="connsiteY9" fmla="*/ 219111 h 312953"/>
                <a:gd name="connsiteX10" fmla="*/ 530780 w 1320858"/>
                <a:gd name="connsiteY10" fmla="*/ 211217 h 312953"/>
                <a:gd name="connsiteX11" fmla="*/ 406710 w 1320858"/>
                <a:gd name="connsiteY11" fmla="*/ 188697 h 312953"/>
                <a:gd name="connsiteX12" fmla="*/ 293248 w 1320858"/>
                <a:gd name="connsiteY12" fmla="*/ 154309 h 312953"/>
                <a:gd name="connsiteX13" fmla="*/ 241709 w 1320858"/>
                <a:gd name="connsiteY13" fmla="*/ 134466 h 312953"/>
                <a:gd name="connsiteX14" fmla="*/ 194396 w 1320858"/>
                <a:gd name="connsiteY14" fmla="*/ 113298 h 312953"/>
                <a:gd name="connsiteX15" fmla="*/ 113214 w 1320858"/>
                <a:gd name="connsiteY15" fmla="*/ 71293 h 312953"/>
                <a:gd name="connsiteX16" fmla="*/ 80055 w 1320858"/>
                <a:gd name="connsiteY16" fmla="*/ 51808 h 312953"/>
                <a:gd name="connsiteX17" fmla="*/ 52342 w 1320858"/>
                <a:gd name="connsiteY17" fmla="*/ 34283 h 312953"/>
                <a:gd name="connsiteX18" fmla="*/ 13737 w 1320858"/>
                <a:gd name="connsiteY18" fmla="*/ 8644 h 312953"/>
                <a:gd name="connsiteX19" fmla="*/ -105 w 1320858"/>
                <a:gd name="connsiteY19" fmla="*/ -464 h 312953"/>
                <a:gd name="connsiteX20" fmla="*/ 9908 w 1320858"/>
                <a:gd name="connsiteY20" fmla="*/ 12481 h 312953"/>
                <a:gd name="connsiteX21" fmla="*/ 39833 w 1320858"/>
                <a:gd name="connsiteY21" fmla="*/ 48220 h 312953"/>
                <a:gd name="connsiteX22" fmla="*/ 62525 w 1320858"/>
                <a:gd name="connsiteY22" fmla="*/ 72756 h 312953"/>
                <a:gd name="connsiteX23" fmla="*/ 91231 w 1320858"/>
                <a:gd name="connsiteY23" fmla="*/ 99913 h 312953"/>
                <a:gd name="connsiteX24" fmla="*/ 125553 w 1320858"/>
                <a:gd name="connsiteY24" fmla="*/ 129333 h 312953"/>
                <a:gd name="connsiteX25" fmla="*/ 165803 w 1320858"/>
                <a:gd name="connsiteY25" fmla="*/ 159691 h 312953"/>
                <a:gd name="connsiteX26" fmla="*/ 211897 w 1320858"/>
                <a:gd name="connsiteY26" fmla="*/ 189857 h 312953"/>
                <a:gd name="connsiteX27" fmla="*/ 263777 w 1320858"/>
                <a:gd name="connsiteY27" fmla="*/ 218449 h 312953"/>
                <a:gd name="connsiteX28" fmla="*/ 382571 w 1320858"/>
                <a:gd name="connsiteY28" fmla="*/ 268126 h 312953"/>
                <a:gd name="connsiteX29" fmla="*/ 517221 w 1320858"/>
                <a:gd name="connsiteY29" fmla="*/ 300858 h 312953"/>
                <a:gd name="connsiteX30" fmla="*/ 803427 w 1320858"/>
                <a:gd name="connsiteY30" fmla="*/ 300858 h 312953"/>
                <a:gd name="connsiteX31" fmla="*/ 938049 w 1320858"/>
                <a:gd name="connsiteY31" fmla="*/ 268044 h 312953"/>
                <a:gd name="connsiteX32" fmla="*/ 1056815 w 1320858"/>
                <a:gd name="connsiteY32" fmla="*/ 218366 h 312953"/>
                <a:gd name="connsiteX33" fmla="*/ 1108666 w 1320858"/>
                <a:gd name="connsiteY33" fmla="*/ 189802 h 312953"/>
                <a:gd name="connsiteX34" fmla="*/ 1154760 w 1320858"/>
                <a:gd name="connsiteY34" fmla="*/ 159637 h 312953"/>
                <a:gd name="connsiteX35" fmla="*/ 1229332 w 1320858"/>
                <a:gd name="connsiteY35" fmla="*/ 99913 h 312953"/>
                <a:gd name="connsiteX36" fmla="*/ 1258066 w 1320858"/>
                <a:gd name="connsiteY36" fmla="*/ 72811 h 312953"/>
                <a:gd name="connsiteX37" fmla="*/ 1280929 w 1320858"/>
                <a:gd name="connsiteY37" fmla="*/ 48193 h 312953"/>
                <a:gd name="connsiteX38" fmla="*/ 1310713 w 1320858"/>
                <a:gd name="connsiteY38" fmla="*/ 12618 h 312953"/>
                <a:gd name="connsiteX39" fmla="*/ 1320754 w 1320858"/>
                <a:gd name="connsiteY39" fmla="*/ -354 h 312953"/>
                <a:gd name="connsiteX40" fmla="*/ 1306940 w 1320858"/>
                <a:gd name="connsiteY40" fmla="*/ 8782 h 31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320858" h="312953">
                  <a:moveTo>
                    <a:pt x="1307053" y="8644"/>
                  </a:moveTo>
                  <a:cubicBezTo>
                    <a:pt x="1298090" y="14495"/>
                    <a:pt x="1285155" y="23989"/>
                    <a:pt x="1268335" y="34393"/>
                  </a:cubicBezTo>
                  <a:lnTo>
                    <a:pt x="1240735" y="51864"/>
                  </a:lnTo>
                  <a:cubicBezTo>
                    <a:pt x="1230240" y="57632"/>
                    <a:pt x="1219376" y="64421"/>
                    <a:pt x="1207604" y="71375"/>
                  </a:cubicBezTo>
                  <a:cubicBezTo>
                    <a:pt x="1183778" y="84872"/>
                    <a:pt x="1156547" y="98974"/>
                    <a:pt x="1126423" y="113408"/>
                  </a:cubicBezTo>
                  <a:cubicBezTo>
                    <a:pt x="1111389" y="120584"/>
                    <a:pt x="1095420" y="127374"/>
                    <a:pt x="1079110" y="134577"/>
                  </a:cubicBezTo>
                  <a:cubicBezTo>
                    <a:pt x="1062289" y="140786"/>
                    <a:pt x="1045610" y="148542"/>
                    <a:pt x="1027570" y="154448"/>
                  </a:cubicBezTo>
                  <a:cubicBezTo>
                    <a:pt x="990378" y="167789"/>
                    <a:pt x="952508" y="179266"/>
                    <a:pt x="914109" y="188836"/>
                  </a:cubicBezTo>
                  <a:cubicBezTo>
                    <a:pt x="873162" y="198373"/>
                    <a:pt x="831742" y="205872"/>
                    <a:pt x="790010" y="211301"/>
                  </a:cubicBezTo>
                  <a:cubicBezTo>
                    <a:pt x="746986" y="216279"/>
                    <a:pt x="703707" y="218887"/>
                    <a:pt x="660381" y="219111"/>
                  </a:cubicBezTo>
                  <a:cubicBezTo>
                    <a:pt x="617063" y="218833"/>
                    <a:pt x="573795" y="216198"/>
                    <a:pt x="530780" y="211217"/>
                  </a:cubicBezTo>
                  <a:cubicBezTo>
                    <a:pt x="489056" y="205768"/>
                    <a:pt x="447646" y="198251"/>
                    <a:pt x="406710" y="188697"/>
                  </a:cubicBezTo>
                  <a:cubicBezTo>
                    <a:pt x="368301" y="179160"/>
                    <a:pt x="330429" y="167682"/>
                    <a:pt x="293248" y="154309"/>
                  </a:cubicBezTo>
                  <a:cubicBezTo>
                    <a:pt x="275209" y="148432"/>
                    <a:pt x="258530" y="140676"/>
                    <a:pt x="241709" y="134466"/>
                  </a:cubicBezTo>
                  <a:cubicBezTo>
                    <a:pt x="225427" y="127236"/>
                    <a:pt x="209458" y="120474"/>
                    <a:pt x="194396" y="113298"/>
                  </a:cubicBezTo>
                  <a:cubicBezTo>
                    <a:pt x="164328" y="98947"/>
                    <a:pt x="137041" y="84789"/>
                    <a:pt x="113214" y="71293"/>
                  </a:cubicBezTo>
                  <a:cubicBezTo>
                    <a:pt x="101414" y="64365"/>
                    <a:pt x="90522" y="57494"/>
                    <a:pt x="80055" y="51808"/>
                  </a:cubicBezTo>
                  <a:lnTo>
                    <a:pt x="52342" y="34283"/>
                  </a:lnTo>
                  <a:cubicBezTo>
                    <a:pt x="35323" y="23795"/>
                    <a:pt x="22786" y="14522"/>
                    <a:pt x="13737" y="8644"/>
                  </a:cubicBezTo>
                  <a:lnTo>
                    <a:pt x="-105" y="-464"/>
                  </a:lnTo>
                  <a:lnTo>
                    <a:pt x="9908" y="12481"/>
                  </a:lnTo>
                  <a:cubicBezTo>
                    <a:pt x="16857" y="20567"/>
                    <a:pt x="25792" y="33869"/>
                    <a:pt x="39833" y="48220"/>
                  </a:cubicBezTo>
                  <a:cubicBezTo>
                    <a:pt x="46669" y="55617"/>
                    <a:pt x="54271" y="63842"/>
                    <a:pt x="62525" y="72756"/>
                  </a:cubicBezTo>
                  <a:cubicBezTo>
                    <a:pt x="70780" y="81670"/>
                    <a:pt x="80935" y="90171"/>
                    <a:pt x="91231" y="99913"/>
                  </a:cubicBezTo>
                  <a:cubicBezTo>
                    <a:pt x="101528" y="109655"/>
                    <a:pt x="113441" y="118901"/>
                    <a:pt x="125553" y="129333"/>
                  </a:cubicBezTo>
                  <a:cubicBezTo>
                    <a:pt x="137665" y="139766"/>
                    <a:pt x="151734" y="149039"/>
                    <a:pt x="165803" y="159691"/>
                  </a:cubicBezTo>
                  <a:cubicBezTo>
                    <a:pt x="179873" y="170345"/>
                    <a:pt x="195871" y="179452"/>
                    <a:pt x="211897" y="189857"/>
                  </a:cubicBezTo>
                  <a:cubicBezTo>
                    <a:pt x="228547" y="199130"/>
                    <a:pt x="245482" y="209480"/>
                    <a:pt x="263777" y="218449"/>
                  </a:cubicBezTo>
                  <a:cubicBezTo>
                    <a:pt x="302061" y="237838"/>
                    <a:pt x="341767" y="254443"/>
                    <a:pt x="382571" y="268126"/>
                  </a:cubicBezTo>
                  <a:cubicBezTo>
                    <a:pt x="426538" y="282338"/>
                    <a:pt x="471551" y="293281"/>
                    <a:pt x="517221" y="300858"/>
                  </a:cubicBezTo>
                  <a:cubicBezTo>
                    <a:pt x="611958" y="316367"/>
                    <a:pt x="708691" y="316367"/>
                    <a:pt x="803427" y="300858"/>
                  </a:cubicBezTo>
                  <a:cubicBezTo>
                    <a:pt x="849090" y="293250"/>
                    <a:pt x="894093" y="282279"/>
                    <a:pt x="938049" y="268044"/>
                  </a:cubicBezTo>
                  <a:cubicBezTo>
                    <a:pt x="978855" y="254388"/>
                    <a:pt x="1018554" y="237783"/>
                    <a:pt x="1056815" y="218366"/>
                  </a:cubicBezTo>
                  <a:cubicBezTo>
                    <a:pt x="1075110" y="209397"/>
                    <a:pt x="1092044" y="199047"/>
                    <a:pt x="1108666" y="189802"/>
                  </a:cubicBezTo>
                  <a:cubicBezTo>
                    <a:pt x="1124693" y="179370"/>
                    <a:pt x="1140435" y="169875"/>
                    <a:pt x="1154760" y="159637"/>
                  </a:cubicBezTo>
                  <a:cubicBezTo>
                    <a:pt x="1180821" y="141195"/>
                    <a:pt x="1205723" y="121251"/>
                    <a:pt x="1229332" y="99913"/>
                  </a:cubicBezTo>
                  <a:cubicBezTo>
                    <a:pt x="1239629" y="90226"/>
                    <a:pt x="1249443" y="81422"/>
                    <a:pt x="1258066" y="72811"/>
                  </a:cubicBezTo>
                  <a:cubicBezTo>
                    <a:pt x="1266690" y="64200"/>
                    <a:pt x="1274008" y="55589"/>
                    <a:pt x="1280929" y="48193"/>
                  </a:cubicBezTo>
                  <a:cubicBezTo>
                    <a:pt x="1295112" y="33786"/>
                    <a:pt x="1303621" y="20760"/>
                    <a:pt x="1310713" y="12618"/>
                  </a:cubicBezTo>
                  <a:lnTo>
                    <a:pt x="1320754" y="-354"/>
                  </a:lnTo>
                  <a:lnTo>
                    <a:pt x="1306940" y="8782"/>
                  </a:lnTo>
                </a:path>
              </a:pathLst>
            </a:custGeom>
            <a:solidFill>
              <a:srgbClr val="0075C2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  <p:sp>
          <p:nvSpPr>
            <p:cNvPr id="14" name="フリーフォーム 13">
              <a:extLst>
                <a:ext uri="{FF2B5EF4-FFF2-40B4-BE49-F238E27FC236}">
                  <a16:creationId xmlns:a16="http://schemas.microsoft.com/office/drawing/2014/main" id="{1ECA1C03-6F14-F943-A16C-F3E83D10EED3}"/>
                </a:ext>
              </a:extLst>
            </p:cNvPr>
            <p:cNvSpPr/>
            <p:nvPr/>
          </p:nvSpPr>
          <p:spPr>
            <a:xfrm rot="5400000">
              <a:off x="6099472" y="-1351438"/>
              <a:ext cx="824112" cy="191702"/>
            </a:xfrm>
            <a:custGeom>
              <a:avLst/>
              <a:gdLst>
                <a:gd name="connsiteX0" fmla="*/ 741703 w 772245"/>
                <a:gd name="connsiteY0" fmla="*/ 20015 h 179636"/>
                <a:gd name="connsiteX1" fmla="*/ 725791 w 772245"/>
                <a:gd name="connsiteY1" fmla="*/ 31055 h 179636"/>
                <a:gd name="connsiteX2" fmla="*/ 706275 w 772245"/>
                <a:gd name="connsiteY2" fmla="*/ 42260 h 179636"/>
                <a:gd name="connsiteX3" fmla="*/ 684462 w 772245"/>
                <a:gd name="connsiteY3" fmla="*/ 54900 h 179636"/>
                <a:gd name="connsiteX4" fmla="*/ 659359 w 772245"/>
                <a:gd name="connsiteY4" fmla="*/ 67403 h 179636"/>
                <a:gd name="connsiteX5" fmla="*/ 631986 w 772245"/>
                <a:gd name="connsiteY5" fmla="*/ 80484 h 179636"/>
                <a:gd name="connsiteX6" fmla="*/ 601664 w 772245"/>
                <a:gd name="connsiteY6" fmla="*/ 92103 h 179636"/>
                <a:gd name="connsiteX7" fmla="*/ 585949 w 772245"/>
                <a:gd name="connsiteY7" fmla="*/ 98230 h 179636"/>
                <a:gd name="connsiteX8" fmla="*/ 569356 w 772245"/>
                <a:gd name="connsiteY8" fmla="*/ 103060 h 179636"/>
                <a:gd name="connsiteX9" fmla="*/ 535317 w 772245"/>
                <a:gd name="connsiteY9" fmla="*/ 113078 h 179636"/>
                <a:gd name="connsiteX10" fmla="*/ 462305 w 772245"/>
                <a:gd name="connsiteY10" fmla="*/ 126022 h 179636"/>
                <a:gd name="connsiteX11" fmla="*/ 309870 w 772245"/>
                <a:gd name="connsiteY11" fmla="*/ 126022 h 179636"/>
                <a:gd name="connsiteX12" fmla="*/ 236857 w 772245"/>
                <a:gd name="connsiteY12" fmla="*/ 113051 h 179636"/>
                <a:gd name="connsiteX13" fmla="*/ 202819 w 772245"/>
                <a:gd name="connsiteY13" fmla="*/ 103004 h 179636"/>
                <a:gd name="connsiteX14" fmla="*/ 186197 w 772245"/>
                <a:gd name="connsiteY14" fmla="*/ 98203 h 179636"/>
                <a:gd name="connsiteX15" fmla="*/ 170540 w 772245"/>
                <a:gd name="connsiteY15" fmla="*/ 92075 h 179636"/>
                <a:gd name="connsiteX16" fmla="*/ 140217 w 772245"/>
                <a:gd name="connsiteY16" fmla="*/ 80457 h 179636"/>
                <a:gd name="connsiteX17" fmla="*/ 112816 w 772245"/>
                <a:gd name="connsiteY17" fmla="*/ 67375 h 179636"/>
                <a:gd name="connsiteX18" fmla="*/ 87656 w 772245"/>
                <a:gd name="connsiteY18" fmla="*/ 54845 h 179636"/>
                <a:gd name="connsiteX19" fmla="*/ 65701 w 772245"/>
                <a:gd name="connsiteY19" fmla="*/ 42094 h 179636"/>
                <a:gd name="connsiteX20" fmla="*/ 46158 w 772245"/>
                <a:gd name="connsiteY20" fmla="*/ 30862 h 179636"/>
                <a:gd name="connsiteX21" fmla="*/ 30415 w 772245"/>
                <a:gd name="connsiteY21" fmla="*/ 19988 h 179636"/>
                <a:gd name="connsiteX22" fmla="*/ -106 w 772245"/>
                <a:gd name="connsiteY22" fmla="*/ -463 h 179636"/>
                <a:gd name="connsiteX23" fmla="*/ 23976 w 772245"/>
                <a:gd name="connsiteY23" fmla="*/ 27136 h 179636"/>
                <a:gd name="connsiteX24" fmla="*/ 37137 w 772245"/>
                <a:gd name="connsiteY24" fmla="*/ 41598 h 179636"/>
                <a:gd name="connsiteX25" fmla="*/ 54440 w 772245"/>
                <a:gd name="connsiteY25" fmla="*/ 56721 h 179636"/>
                <a:gd name="connsiteX26" fmla="*/ 74296 w 772245"/>
                <a:gd name="connsiteY26" fmla="*/ 73970 h 179636"/>
                <a:gd name="connsiteX27" fmla="*/ 98208 w 772245"/>
                <a:gd name="connsiteY27" fmla="*/ 90889 h 179636"/>
                <a:gd name="connsiteX28" fmla="*/ 124871 w 772245"/>
                <a:gd name="connsiteY28" fmla="*/ 108773 h 179636"/>
                <a:gd name="connsiteX29" fmla="*/ 155449 w 772245"/>
                <a:gd name="connsiteY29" fmla="*/ 124642 h 179636"/>
                <a:gd name="connsiteX30" fmla="*/ 171532 w 772245"/>
                <a:gd name="connsiteY30" fmla="*/ 132922 h 179636"/>
                <a:gd name="connsiteX31" fmla="*/ 188552 w 772245"/>
                <a:gd name="connsiteY31" fmla="*/ 139932 h 179636"/>
                <a:gd name="connsiteX32" fmla="*/ 224377 w 772245"/>
                <a:gd name="connsiteY32" fmla="*/ 153731 h 179636"/>
                <a:gd name="connsiteX33" fmla="*/ 262784 w 772245"/>
                <a:gd name="connsiteY33" fmla="*/ 164053 h 179636"/>
                <a:gd name="connsiteX34" fmla="*/ 302835 w 772245"/>
                <a:gd name="connsiteY34" fmla="*/ 171946 h 179636"/>
                <a:gd name="connsiteX35" fmla="*/ 469056 w 772245"/>
                <a:gd name="connsiteY35" fmla="*/ 171946 h 179636"/>
                <a:gd name="connsiteX36" fmla="*/ 509108 w 772245"/>
                <a:gd name="connsiteY36" fmla="*/ 164026 h 179636"/>
                <a:gd name="connsiteX37" fmla="*/ 547515 w 772245"/>
                <a:gd name="connsiteY37" fmla="*/ 153703 h 179636"/>
                <a:gd name="connsiteX38" fmla="*/ 583340 w 772245"/>
                <a:gd name="connsiteY38" fmla="*/ 139904 h 179636"/>
                <a:gd name="connsiteX39" fmla="*/ 600359 w 772245"/>
                <a:gd name="connsiteY39" fmla="*/ 132922 h 179636"/>
                <a:gd name="connsiteX40" fmla="*/ 616414 w 772245"/>
                <a:gd name="connsiteY40" fmla="*/ 124642 h 179636"/>
                <a:gd name="connsiteX41" fmla="*/ 646992 w 772245"/>
                <a:gd name="connsiteY41" fmla="*/ 108773 h 179636"/>
                <a:gd name="connsiteX42" fmla="*/ 673655 w 772245"/>
                <a:gd name="connsiteY42" fmla="*/ 90916 h 179636"/>
                <a:gd name="connsiteX43" fmla="*/ 697624 w 772245"/>
                <a:gd name="connsiteY43" fmla="*/ 73970 h 179636"/>
                <a:gd name="connsiteX44" fmla="*/ 717735 w 772245"/>
                <a:gd name="connsiteY44" fmla="*/ 56584 h 179636"/>
                <a:gd name="connsiteX45" fmla="*/ 735095 w 772245"/>
                <a:gd name="connsiteY45" fmla="*/ 41404 h 179636"/>
                <a:gd name="connsiteX46" fmla="*/ 748057 w 772245"/>
                <a:gd name="connsiteY46" fmla="*/ 27136 h 179636"/>
                <a:gd name="connsiteX47" fmla="*/ 772140 w 772245"/>
                <a:gd name="connsiteY47" fmla="*/ -463 h 179636"/>
                <a:gd name="connsiteX48" fmla="*/ 741533 w 772245"/>
                <a:gd name="connsiteY48" fmla="*/ 20043 h 17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72245" h="179636">
                  <a:moveTo>
                    <a:pt x="741703" y="20015"/>
                  </a:moveTo>
                  <a:lnTo>
                    <a:pt x="725791" y="31055"/>
                  </a:lnTo>
                  <a:cubicBezTo>
                    <a:pt x="719578" y="34422"/>
                    <a:pt x="713196" y="38285"/>
                    <a:pt x="706275" y="42260"/>
                  </a:cubicBezTo>
                  <a:lnTo>
                    <a:pt x="684462" y="54900"/>
                  </a:lnTo>
                  <a:cubicBezTo>
                    <a:pt x="676974" y="59453"/>
                    <a:pt x="668010" y="63014"/>
                    <a:pt x="659359" y="67403"/>
                  </a:cubicBezTo>
                  <a:lnTo>
                    <a:pt x="631986" y="80484"/>
                  </a:lnTo>
                  <a:cubicBezTo>
                    <a:pt x="622059" y="84099"/>
                    <a:pt x="612131" y="88129"/>
                    <a:pt x="601664" y="92103"/>
                  </a:cubicBezTo>
                  <a:lnTo>
                    <a:pt x="585949" y="98230"/>
                  </a:lnTo>
                  <a:cubicBezTo>
                    <a:pt x="580589" y="100107"/>
                    <a:pt x="574916" y="101432"/>
                    <a:pt x="569356" y="103060"/>
                  </a:cubicBezTo>
                  <a:cubicBezTo>
                    <a:pt x="558010" y="106123"/>
                    <a:pt x="546664" y="109683"/>
                    <a:pt x="535317" y="113078"/>
                  </a:cubicBezTo>
                  <a:cubicBezTo>
                    <a:pt x="511223" y="118603"/>
                    <a:pt x="486853" y="122923"/>
                    <a:pt x="462305" y="126022"/>
                  </a:cubicBezTo>
                  <a:cubicBezTo>
                    <a:pt x="411751" y="133071"/>
                    <a:pt x="360423" y="133071"/>
                    <a:pt x="309870" y="126022"/>
                  </a:cubicBezTo>
                  <a:cubicBezTo>
                    <a:pt x="285324" y="122890"/>
                    <a:pt x="260956" y="118560"/>
                    <a:pt x="236857" y="113051"/>
                  </a:cubicBezTo>
                  <a:cubicBezTo>
                    <a:pt x="225313" y="109655"/>
                    <a:pt x="214165" y="106068"/>
                    <a:pt x="202819" y="103004"/>
                  </a:cubicBezTo>
                  <a:cubicBezTo>
                    <a:pt x="197146" y="101376"/>
                    <a:pt x="191473" y="100051"/>
                    <a:pt x="186197" y="98203"/>
                  </a:cubicBezTo>
                  <a:lnTo>
                    <a:pt x="170540" y="92075"/>
                  </a:lnTo>
                  <a:lnTo>
                    <a:pt x="140217" y="80457"/>
                  </a:lnTo>
                  <a:lnTo>
                    <a:pt x="112816" y="67375"/>
                  </a:lnTo>
                  <a:cubicBezTo>
                    <a:pt x="104136" y="62987"/>
                    <a:pt x="95258" y="59481"/>
                    <a:pt x="87656" y="54845"/>
                  </a:cubicBezTo>
                  <a:lnTo>
                    <a:pt x="65701" y="42094"/>
                  </a:lnTo>
                  <a:cubicBezTo>
                    <a:pt x="58752" y="38120"/>
                    <a:pt x="52313" y="34228"/>
                    <a:pt x="46158" y="30862"/>
                  </a:cubicBezTo>
                  <a:lnTo>
                    <a:pt x="30415" y="19988"/>
                  </a:lnTo>
                  <a:cubicBezTo>
                    <a:pt x="11382" y="6851"/>
                    <a:pt x="-106" y="-463"/>
                    <a:pt x="-106" y="-463"/>
                  </a:cubicBezTo>
                  <a:cubicBezTo>
                    <a:pt x="-106" y="-463"/>
                    <a:pt x="8233" y="9694"/>
                    <a:pt x="23976" y="27136"/>
                  </a:cubicBezTo>
                  <a:cubicBezTo>
                    <a:pt x="27976" y="31496"/>
                    <a:pt x="32486" y="36326"/>
                    <a:pt x="37137" y="41598"/>
                  </a:cubicBezTo>
                  <a:cubicBezTo>
                    <a:pt x="42357" y="46372"/>
                    <a:pt x="48228" y="51285"/>
                    <a:pt x="54440" y="56721"/>
                  </a:cubicBezTo>
                  <a:lnTo>
                    <a:pt x="74296" y="73970"/>
                  </a:lnTo>
                  <a:cubicBezTo>
                    <a:pt x="81951" y="80020"/>
                    <a:pt x="89933" y="85668"/>
                    <a:pt x="98208" y="90889"/>
                  </a:cubicBezTo>
                  <a:lnTo>
                    <a:pt x="124871" y="108773"/>
                  </a:lnTo>
                  <a:cubicBezTo>
                    <a:pt x="134743" y="113878"/>
                    <a:pt x="144954" y="119205"/>
                    <a:pt x="155449" y="124642"/>
                  </a:cubicBezTo>
                  <a:cubicBezTo>
                    <a:pt x="160754" y="127402"/>
                    <a:pt x="166115" y="130162"/>
                    <a:pt x="171532" y="132922"/>
                  </a:cubicBezTo>
                  <a:cubicBezTo>
                    <a:pt x="176950" y="135682"/>
                    <a:pt x="182878" y="137530"/>
                    <a:pt x="188552" y="139932"/>
                  </a:cubicBezTo>
                  <a:cubicBezTo>
                    <a:pt x="200125" y="144651"/>
                    <a:pt x="212180" y="149012"/>
                    <a:pt x="224377" y="153731"/>
                  </a:cubicBezTo>
                  <a:lnTo>
                    <a:pt x="262784" y="164053"/>
                  </a:lnTo>
                  <a:cubicBezTo>
                    <a:pt x="275912" y="167656"/>
                    <a:pt x="289300" y="170295"/>
                    <a:pt x="302835" y="171946"/>
                  </a:cubicBezTo>
                  <a:cubicBezTo>
                    <a:pt x="357799" y="181583"/>
                    <a:pt x="414092" y="181583"/>
                    <a:pt x="469056" y="171946"/>
                  </a:cubicBezTo>
                  <a:cubicBezTo>
                    <a:pt x="482589" y="170272"/>
                    <a:pt x="495976" y="167625"/>
                    <a:pt x="509108" y="164026"/>
                  </a:cubicBezTo>
                  <a:lnTo>
                    <a:pt x="547515" y="153703"/>
                  </a:lnTo>
                  <a:cubicBezTo>
                    <a:pt x="559711" y="149067"/>
                    <a:pt x="571710" y="144651"/>
                    <a:pt x="583340" y="139904"/>
                  </a:cubicBezTo>
                  <a:cubicBezTo>
                    <a:pt x="589013" y="137530"/>
                    <a:pt x="594941" y="135460"/>
                    <a:pt x="600359" y="132922"/>
                  </a:cubicBezTo>
                  <a:lnTo>
                    <a:pt x="616414" y="124642"/>
                  </a:lnTo>
                  <a:cubicBezTo>
                    <a:pt x="626937" y="119122"/>
                    <a:pt x="637262" y="114071"/>
                    <a:pt x="646992" y="108773"/>
                  </a:cubicBezTo>
                  <a:lnTo>
                    <a:pt x="673655" y="90916"/>
                  </a:lnTo>
                  <a:cubicBezTo>
                    <a:pt x="681943" y="85679"/>
                    <a:pt x="689944" y="80023"/>
                    <a:pt x="697624" y="73970"/>
                  </a:cubicBezTo>
                  <a:lnTo>
                    <a:pt x="717735" y="56584"/>
                  </a:lnTo>
                  <a:cubicBezTo>
                    <a:pt x="723975" y="51064"/>
                    <a:pt x="729875" y="46179"/>
                    <a:pt x="735095" y="41404"/>
                  </a:cubicBezTo>
                  <a:cubicBezTo>
                    <a:pt x="739831" y="36244"/>
                    <a:pt x="744143" y="31469"/>
                    <a:pt x="748057" y="27136"/>
                  </a:cubicBezTo>
                  <a:cubicBezTo>
                    <a:pt x="763630" y="9887"/>
                    <a:pt x="772140" y="-463"/>
                    <a:pt x="772140" y="-463"/>
                  </a:cubicBezTo>
                  <a:cubicBezTo>
                    <a:pt x="772140" y="-463"/>
                    <a:pt x="760793" y="6741"/>
                    <a:pt x="741533" y="20043"/>
                  </a:cubicBezTo>
                </a:path>
              </a:pathLst>
            </a:custGeom>
            <a:solidFill>
              <a:srgbClr val="0095D8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  <p:sp>
          <p:nvSpPr>
            <p:cNvPr id="15" name="フリーフォーム 14">
              <a:extLst>
                <a:ext uri="{FF2B5EF4-FFF2-40B4-BE49-F238E27FC236}">
                  <a16:creationId xmlns:a16="http://schemas.microsoft.com/office/drawing/2014/main" id="{AE056DF3-BAB9-004E-B8B2-F1CBCFA7CF2C}"/>
                </a:ext>
              </a:extLst>
            </p:cNvPr>
            <p:cNvSpPr/>
            <p:nvPr/>
          </p:nvSpPr>
          <p:spPr>
            <a:xfrm rot="5400000">
              <a:off x="6385212" y="-1321636"/>
              <a:ext cx="564785" cy="132309"/>
            </a:xfrm>
            <a:custGeom>
              <a:avLst/>
              <a:gdLst>
                <a:gd name="connsiteX0" fmla="*/ 507803 w 529240"/>
                <a:gd name="connsiteY0" fmla="*/ 13392 h 123982"/>
                <a:gd name="connsiteX1" fmla="*/ 496797 w 529240"/>
                <a:gd name="connsiteY1" fmla="*/ 20844 h 123982"/>
                <a:gd name="connsiteX2" fmla="*/ 483352 w 529240"/>
                <a:gd name="connsiteY2" fmla="*/ 28378 h 123982"/>
                <a:gd name="connsiteX3" fmla="*/ 451129 w 529240"/>
                <a:gd name="connsiteY3" fmla="*/ 45297 h 123982"/>
                <a:gd name="connsiteX4" fmla="*/ 432351 w 529240"/>
                <a:gd name="connsiteY4" fmla="*/ 54073 h 123982"/>
                <a:gd name="connsiteX5" fmla="*/ 411588 w 529240"/>
                <a:gd name="connsiteY5" fmla="*/ 61911 h 123982"/>
                <a:gd name="connsiteX6" fmla="*/ 400866 w 529240"/>
                <a:gd name="connsiteY6" fmla="*/ 66023 h 123982"/>
                <a:gd name="connsiteX7" fmla="*/ 389520 w 529240"/>
                <a:gd name="connsiteY7" fmla="*/ 69252 h 123982"/>
                <a:gd name="connsiteX8" fmla="*/ 366288 w 529240"/>
                <a:gd name="connsiteY8" fmla="*/ 76069 h 123982"/>
                <a:gd name="connsiteX9" fmla="*/ 316394 w 529240"/>
                <a:gd name="connsiteY9" fmla="*/ 84680 h 123982"/>
                <a:gd name="connsiteX10" fmla="*/ 212435 w 529240"/>
                <a:gd name="connsiteY10" fmla="*/ 84680 h 123982"/>
                <a:gd name="connsiteX11" fmla="*/ 162597 w 529240"/>
                <a:gd name="connsiteY11" fmla="*/ 76042 h 123982"/>
                <a:gd name="connsiteX12" fmla="*/ 139337 w 529240"/>
                <a:gd name="connsiteY12" fmla="*/ 69224 h 123982"/>
                <a:gd name="connsiteX13" fmla="*/ 127991 w 529240"/>
                <a:gd name="connsiteY13" fmla="*/ 65995 h 123982"/>
                <a:gd name="connsiteX14" fmla="*/ 117241 w 529240"/>
                <a:gd name="connsiteY14" fmla="*/ 61883 h 123982"/>
                <a:gd name="connsiteX15" fmla="*/ 96534 w 529240"/>
                <a:gd name="connsiteY15" fmla="*/ 54045 h 123982"/>
                <a:gd name="connsiteX16" fmla="*/ 77728 w 529240"/>
                <a:gd name="connsiteY16" fmla="*/ 45269 h 123982"/>
                <a:gd name="connsiteX17" fmla="*/ 45335 w 529240"/>
                <a:gd name="connsiteY17" fmla="*/ 28212 h 123982"/>
                <a:gd name="connsiteX18" fmla="*/ 31890 w 529240"/>
                <a:gd name="connsiteY18" fmla="*/ 20651 h 123982"/>
                <a:gd name="connsiteX19" fmla="*/ 21054 w 529240"/>
                <a:gd name="connsiteY19" fmla="*/ 13337 h 123982"/>
                <a:gd name="connsiteX20" fmla="*/ -106 w 529240"/>
                <a:gd name="connsiteY20" fmla="*/ -463 h 123982"/>
                <a:gd name="connsiteX21" fmla="*/ 16204 w 529240"/>
                <a:gd name="connsiteY21" fmla="*/ 18691 h 123982"/>
                <a:gd name="connsiteX22" fmla="*/ 25139 w 529240"/>
                <a:gd name="connsiteY22" fmla="*/ 28682 h 123982"/>
                <a:gd name="connsiteX23" fmla="*/ 36910 w 529240"/>
                <a:gd name="connsiteY23" fmla="*/ 39169 h 123982"/>
                <a:gd name="connsiteX24" fmla="*/ 50497 w 529240"/>
                <a:gd name="connsiteY24" fmla="*/ 51119 h 123982"/>
                <a:gd name="connsiteX25" fmla="*/ 66836 w 529240"/>
                <a:gd name="connsiteY25" fmla="*/ 62876 h 123982"/>
                <a:gd name="connsiteX26" fmla="*/ 85075 w 529240"/>
                <a:gd name="connsiteY26" fmla="*/ 75268 h 123982"/>
                <a:gd name="connsiteX27" fmla="*/ 106037 w 529240"/>
                <a:gd name="connsiteY27" fmla="*/ 86308 h 123982"/>
                <a:gd name="connsiteX28" fmla="*/ 153435 w 529240"/>
                <a:gd name="connsiteY28" fmla="*/ 106345 h 123982"/>
                <a:gd name="connsiteX29" fmla="*/ 207329 w 529240"/>
                <a:gd name="connsiteY29" fmla="*/ 119068 h 123982"/>
                <a:gd name="connsiteX30" fmla="*/ 375564 w 529240"/>
                <a:gd name="connsiteY30" fmla="*/ 106317 h 123982"/>
                <a:gd name="connsiteX31" fmla="*/ 400185 w 529240"/>
                <a:gd name="connsiteY31" fmla="*/ 96850 h 123982"/>
                <a:gd name="connsiteX32" fmla="*/ 411928 w 529240"/>
                <a:gd name="connsiteY32" fmla="*/ 91965 h 123982"/>
                <a:gd name="connsiteX33" fmla="*/ 422934 w 529240"/>
                <a:gd name="connsiteY33" fmla="*/ 86252 h 123982"/>
                <a:gd name="connsiteX34" fmla="*/ 443896 w 529240"/>
                <a:gd name="connsiteY34" fmla="*/ 75213 h 123982"/>
                <a:gd name="connsiteX35" fmla="*/ 462135 w 529240"/>
                <a:gd name="connsiteY35" fmla="*/ 62849 h 123982"/>
                <a:gd name="connsiteX36" fmla="*/ 478501 w 529240"/>
                <a:gd name="connsiteY36" fmla="*/ 51064 h 123982"/>
                <a:gd name="connsiteX37" fmla="*/ 492259 w 529240"/>
                <a:gd name="connsiteY37" fmla="*/ 39031 h 123982"/>
                <a:gd name="connsiteX38" fmla="*/ 504115 w 529240"/>
                <a:gd name="connsiteY38" fmla="*/ 28516 h 123982"/>
                <a:gd name="connsiteX39" fmla="*/ 512852 w 529240"/>
                <a:gd name="connsiteY39" fmla="*/ 18636 h 123982"/>
                <a:gd name="connsiteX40" fmla="*/ 529134 w 529240"/>
                <a:gd name="connsiteY40" fmla="*/ -463 h 123982"/>
                <a:gd name="connsiteX41" fmla="*/ 507973 w 529240"/>
                <a:gd name="connsiteY41" fmla="*/ 13337 h 123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29240" h="123982">
                  <a:moveTo>
                    <a:pt x="507803" y="13392"/>
                  </a:moveTo>
                  <a:lnTo>
                    <a:pt x="496797" y="20844"/>
                  </a:lnTo>
                  <a:lnTo>
                    <a:pt x="483352" y="28378"/>
                  </a:lnTo>
                  <a:cubicBezTo>
                    <a:pt x="472947" y="34604"/>
                    <a:pt x="462189" y="40253"/>
                    <a:pt x="451129" y="45297"/>
                  </a:cubicBezTo>
                  <a:lnTo>
                    <a:pt x="432351" y="54073"/>
                  </a:lnTo>
                  <a:cubicBezTo>
                    <a:pt x="425543" y="56501"/>
                    <a:pt x="418679" y="59233"/>
                    <a:pt x="411588" y="61911"/>
                  </a:cubicBezTo>
                  <a:lnTo>
                    <a:pt x="400866" y="66023"/>
                  </a:lnTo>
                  <a:cubicBezTo>
                    <a:pt x="397150" y="67265"/>
                    <a:pt x="393321" y="68148"/>
                    <a:pt x="389520" y="69252"/>
                  </a:cubicBezTo>
                  <a:cubicBezTo>
                    <a:pt x="381832" y="71266"/>
                    <a:pt x="374145" y="73778"/>
                    <a:pt x="366288" y="76069"/>
                  </a:cubicBezTo>
                  <a:cubicBezTo>
                    <a:pt x="349826" y="79801"/>
                    <a:pt x="333171" y="82675"/>
                    <a:pt x="316394" y="84680"/>
                  </a:cubicBezTo>
                  <a:cubicBezTo>
                    <a:pt x="281914" y="89439"/>
                    <a:pt x="246915" y="89439"/>
                    <a:pt x="212435" y="84680"/>
                  </a:cubicBezTo>
                  <a:cubicBezTo>
                    <a:pt x="195678" y="82656"/>
                    <a:pt x="179042" y="79772"/>
                    <a:pt x="162597" y="76042"/>
                  </a:cubicBezTo>
                  <a:cubicBezTo>
                    <a:pt x="154711" y="73778"/>
                    <a:pt x="147024" y="71212"/>
                    <a:pt x="139337" y="69224"/>
                  </a:cubicBezTo>
                  <a:cubicBezTo>
                    <a:pt x="135537" y="68121"/>
                    <a:pt x="131622" y="67237"/>
                    <a:pt x="127991" y="65995"/>
                  </a:cubicBezTo>
                  <a:lnTo>
                    <a:pt x="117241" y="61883"/>
                  </a:lnTo>
                  <a:lnTo>
                    <a:pt x="96534" y="54045"/>
                  </a:lnTo>
                  <a:lnTo>
                    <a:pt x="77728" y="45269"/>
                  </a:lnTo>
                  <a:cubicBezTo>
                    <a:pt x="66605" y="40188"/>
                    <a:pt x="55790" y="34494"/>
                    <a:pt x="45335" y="28212"/>
                  </a:cubicBezTo>
                  <a:cubicBezTo>
                    <a:pt x="40541" y="25452"/>
                    <a:pt x="36116" y="22914"/>
                    <a:pt x="31890" y="20651"/>
                  </a:cubicBezTo>
                  <a:cubicBezTo>
                    <a:pt x="27663" y="18388"/>
                    <a:pt x="24316" y="15545"/>
                    <a:pt x="21054" y="13337"/>
                  </a:cubicBezTo>
                  <a:cubicBezTo>
                    <a:pt x="7893" y="4478"/>
                    <a:pt x="-106" y="-463"/>
                    <a:pt x="-106" y="-463"/>
                  </a:cubicBezTo>
                  <a:cubicBezTo>
                    <a:pt x="-106" y="-463"/>
                    <a:pt x="5567" y="6575"/>
                    <a:pt x="16204" y="18691"/>
                  </a:cubicBezTo>
                  <a:cubicBezTo>
                    <a:pt x="19040" y="21699"/>
                    <a:pt x="21877" y="25039"/>
                    <a:pt x="25139" y="28682"/>
                  </a:cubicBezTo>
                  <a:cubicBezTo>
                    <a:pt x="28401" y="32324"/>
                    <a:pt x="32684" y="35415"/>
                    <a:pt x="36910" y="39169"/>
                  </a:cubicBezTo>
                  <a:lnTo>
                    <a:pt x="50497" y="51119"/>
                  </a:lnTo>
                  <a:cubicBezTo>
                    <a:pt x="55720" y="55324"/>
                    <a:pt x="61175" y="59248"/>
                    <a:pt x="66836" y="62876"/>
                  </a:cubicBezTo>
                  <a:lnTo>
                    <a:pt x="85075" y="75268"/>
                  </a:lnTo>
                  <a:cubicBezTo>
                    <a:pt x="91844" y="78819"/>
                    <a:pt x="98832" y="82499"/>
                    <a:pt x="106037" y="86308"/>
                  </a:cubicBezTo>
                  <a:cubicBezTo>
                    <a:pt x="121299" y="94131"/>
                    <a:pt x="137143" y="100828"/>
                    <a:pt x="153435" y="106345"/>
                  </a:cubicBezTo>
                  <a:cubicBezTo>
                    <a:pt x="171059" y="111850"/>
                    <a:pt x="189071" y="116102"/>
                    <a:pt x="207329" y="119068"/>
                  </a:cubicBezTo>
                  <a:cubicBezTo>
                    <a:pt x="263651" y="127911"/>
                    <a:pt x="321329" y="123539"/>
                    <a:pt x="375564" y="106317"/>
                  </a:cubicBezTo>
                  <a:cubicBezTo>
                    <a:pt x="384073" y="103143"/>
                    <a:pt x="392214" y="100134"/>
                    <a:pt x="400185" y="96850"/>
                  </a:cubicBezTo>
                  <a:cubicBezTo>
                    <a:pt x="404128" y="95195"/>
                    <a:pt x="408127" y="93759"/>
                    <a:pt x="411928" y="91965"/>
                  </a:cubicBezTo>
                  <a:lnTo>
                    <a:pt x="422934" y="86252"/>
                  </a:lnTo>
                  <a:cubicBezTo>
                    <a:pt x="430138" y="82444"/>
                    <a:pt x="437116" y="78939"/>
                    <a:pt x="443896" y="75213"/>
                  </a:cubicBezTo>
                  <a:lnTo>
                    <a:pt x="462135" y="62849"/>
                  </a:lnTo>
                  <a:cubicBezTo>
                    <a:pt x="467813" y="59222"/>
                    <a:pt x="473277" y="55288"/>
                    <a:pt x="478501" y="51064"/>
                  </a:cubicBezTo>
                  <a:cubicBezTo>
                    <a:pt x="483380" y="46814"/>
                    <a:pt x="487947" y="42785"/>
                    <a:pt x="492259" y="39031"/>
                  </a:cubicBezTo>
                  <a:cubicBezTo>
                    <a:pt x="496570" y="35278"/>
                    <a:pt x="500570" y="31828"/>
                    <a:pt x="504115" y="28516"/>
                  </a:cubicBezTo>
                  <a:lnTo>
                    <a:pt x="512852" y="18636"/>
                  </a:lnTo>
                  <a:cubicBezTo>
                    <a:pt x="523404" y="6686"/>
                    <a:pt x="529134" y="-463"/>
                    <a:pt x="529134" y="-463"/>
                  </a:cubicBezTo>
                  <a:cubicBezTo>
                    <a:pt x="529134" y="-463"/>
                    <a:pt x="521276" y="4395"/>
                    <a:pt x="507973" y="13337"/>
                  </a:cubicBezTo>
                </a:path>
              </a:pathLst>
            </a:custGeom>
            <a:solidFill>
              <a:srgbClr val="00A7E4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  <p:sp>
          <p:nvSpPr>
            <p:cNvPr id="16" name="フリーフォーム 15">
              <a:extLst>
                <a:ext uri="{FF2B5EF4-FFF2-40B4-BE49-F238E27FC236}">
                  <a16:creationId xmlns:a16="http://schemas.microsoft.com/office/drawing/2014/main" id="{C98BF337-A31D-FF41-8C4A-C3017CBE51C2}"/>
                </a:ext>
              </a:extLst>
            </p:cNvPr>
            <p:cNvSpPr/>
            <p:nvPr/>
          </p:nvSpPr>
          <p:spPr>
            <a:xfrm rot="5400000">
              <a:off x="6670763" y="-1292563"/>
              <a:ext cx="305065" cy="74043"/>
            </a:xfrm>
            <a:custGeom>
              <a:avLst/>
              <a:gdLst>
                <a:gd name="connsiteX0" fmla="*/ 273902 w 285865"/>
                <a:gd name="connsiteY0" fmla="*/ 6824 h 69383"/>
                <a:gd name="connsiteX1" fmla="*/ 267832 w 285865"/>
                <a:gd name="connsiteY1" fmla="*/ 10715 h 69383"/>
                <a:gd name="connsiteX2" fmla="*/ 260429 w 285865"/>
                <a:gd name="connsiteY2" fmla="*/ 14607 h 69383"/>
                <a:gd name="connsiteX3" fmla="*/ 242927 w 285865"/>
                <a:gd name="connsiteY3" fmla="*/ 23273 h 69383"/>
                <a:gd name="connsiteX4" fmla="*/ 232744 w 285865"/>
                <a:gd name="connsiteY4" fmla="*/ 27826 h 69383"/>
                <a:gd name="connsiteX5" fmla="*/ 221540 w 285865"/>
                <a:gd name="connsiteY5" fmla="*/ 31856 h 69383"/>
                <a:gd name="connsiteX6" fmla="*/ 197174 w 285865"/>
                <a:gd name="connsiteY6" fmla="*/ 39115 h 69383"/>
                <a:gd name="connsiteX7" fmla="*/ 170511 w 285865"/>
                <a:gd name="connsiteY7" fmla="*/ 43558 h 69383"/>
                <a:gd name="connsiteX8" fmla="*/ 142741 w 285865"/>
                <a:gd name="connsiteY8" fmla="*/ 45352 h 69383"/>
                <a:gd name="connsiteX9" fmla="*/ 115028 w 285865"/>
                <a:gd name="connsiteY9" fmla="*/ 43558 h 69383"/>
                <a:gd name="connsiteX10" fmla="*/ 88336 w 285865"/>
                <a:gd name="connsiteY10" fmla="*/ 39087 h 69383"/>
                <a:gd name="connsiteX11" fmla="*/ 63970 w 285865"/>
                <a:gd name="connsiteY11" fmla="*/ 31829 h 69383"/>
                <a:gd name="connsiteX12" fmla="*/ 52794 w 285865"/>
                <a:gd name="connsiteY12" fmla="*/ 27799 h 69383"/>
                <a:gd name="connsiteX13" fmla="*/ 42611 w 285865"/>
                <a:gd name="connsiteY13" fmla="*/ 23245 h 69383"/>
                <a:gd name="connsiteX14" fmla="*/ 24940 w 285865"/>
                <a:gd name="connsiteY14" fmla="*/ 14497 h 69383"/>
                <a:gd name="connsiteX15" fmla="*/ 11580 w 285865"/>
                <a:gd name="connsiteY15" fmla="*/ 6797 h 69383"/>
                <a:gd name="connsiteX16" fmla="*/ -107 w 285865"/>
                <a:gd name="connsiteY16" fmla="*/ -296 h 69383"/>
                <a:gd name="connsiteX17" fmla="*/ 8403 w 285865"/>
                <a:gd name="connsiteY17" fmla="*/ 10384 h 69383"/>
                <a:gd name="connsiteX18" fmla="*/ 13083 w 285865"/>
                <a:gd name="connsiteY18" fmla="*/ 15904 h 69383"/>
                <a:gd name="connsiteX19" fmla="*/ 19352 w 285865"/>
                <a:gd name="connsiteY19" fmla="*/ 21755 h 69383"/>
                <a:gd name="connsiteX20" fmla="*/ 35350 w 285865"/>
                <a:gd name="connsiteY20" fmla="*/ 34974 h 69383"/>
                <a:gd name="connsiteX21" fmla="*/ 45164 w 285865"/>
                <a:gd name="connsiteY21" fmla="*/ 41902 h 69383"/>
                <a:gd name="connsiteX22" fmla="*/ 56510 w 285865"/>
                <a:gd name="connsiteY22" fmla="*/ 48029 h 69383"/>
                <a:gd name="connsiteX23" fmla="*/ 82238 w 285865"/>
                <a:gd name="connsiteY23" fmla="*/ 59069 h 69383"/>
                <a:gd name="connsiteX24" fmla="*/ 111596 w 285865"/>
                <a:gd name="connsiteY24" fmla="*/ 66161 h 69383"/>
                <a:gd name="connsiteX25" fmla="*/ 142798 w 285865"/>
                <a:gd name="connsiteY25" fmla="*/ 68921 h 69383"/>
                <a:gd name="connsiteX26" fmla="*/ 174000 w 285865"/>
                <a:gd name="connsiteY26" fmla="*/ 66161 h 69383"/>
                <a:gd name="connsiteX27" fmla="*/ 203330 w 285865"/>
                <a:gd name="connsiteY27" fmla="*/ 59041 h 69383"/>
                <a:gd name="connsiteX28" fmla="*/ 229057 w 285865"/>
                <a:gd name="connsiteY28" fmla="*/ 48001 h 69383"/>
                <a:gd name="connsiteX29" fmla="*/ 240402 w 285865"/>
                <a:gd name="connsiteY29" fmla="*/ 41847 h 69383"/>
                <a:gd name="connsiteX30" fmla="*/ 250217 w 285865"/>
                <a:gd name="connsiteY30" fmla="*/ 34947 h 69383"/>
                <a:gd name="connsiteX31" fmla="*/ 266357 w 285865"/>
                <a:gd name="connsiteY31" fmla="*/ 21645 h 69383"/>
                <a:gd name="connsiteX32" fmla="*/ 272625 w 285865"/>
                <a:gd name="connsiteY32" fmla="*/ 15738 h 69383"/>
                <a:gd name="connsiteX33" fmla="*/ 277249 w 285865"/>
                <a:gd name="connsiteY33" fmla="*/ 10218 h 69383"/>
                <a:gd name="connsiteX34" fmla="*/ 285759 w 285865"/>
                <a:gd name="connsiteY34" fmla="*/ -462 h 69383"/>
                <a:gd name="connsiteX35" fmla="*/ 274016 w 285865"/>
                <a:gd name="connsiteY35" fmla="*/ 6686 h 69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85865" h="69383">
                  <a:moveTo>
                    <a:pt x="273902" y="6824"/>
                  </a:moveTo>
                  <a:lnTo>
                    <a:pt x="267832" y="10715"/>
                  </a:lnTo>
                  <a:lnTo>
                    <a:pt x="260429" y="14607"/>
                  </a:lnTo>
                  <a:cubicBezTo>
                    <a:pt x="254757" y="17795"/>
                    <a:pt x="248915" y="20688"/>
                    <a:pt x="242927" y="23273"/>
                  </a:cubicBezTo>
                  <a:cubicBezTo>
                    <a:pt x="239665" y="24735"/>
                    <a:pt x="236261" y="26281"/>
                    <a:pt x="232744" y="27826"/>
                  </a:cubicBezTo>
                  <a:lnTo>
                    <a:pt x="221540" y="31856"/>
                  </a:lnTo>
                  <a:cubicBezTo>
                    <a:pt x="214080" y="35030"/>
                    <a:pt x="205457" y="36383"/>
                    <a:pt x="197174" y="39115"/>
                  </a:cubicBezTo>
                  <a:cubicBezTo>
                    <a:pt x="188494" y="40715"/>
                    <a:pt x="179673" y="42758"/>
                    <a:pt x="170511" y="43558"/>
                  </a:cubicBezTo>
                  <a:cubicBezTo>
                    <a:pt x="161305" y="44754"/>
                    <a:pt x="152028" y="45353"/>
                    <a:pt x="142741" y="45352"/>
                  </a:cubicBezTo>
                  <a:cubicBezTo>
                    <a:pt x="133473" y="45339"/>
                    <a:pt x="124216" y="44739"/>
                    <a:pt x="115028" y="43558"/>
                  </a:cubicBezTo>
                  <a:cubicBezTo>
                    <a:pt x="105838" y="42702"/>
                    <a:pt x="97044" y="40798"/>
                    <a:pt x="88336" y="39087"/>
                  </a:cubicBezTo>
                  <a:cubicBezTo>
                    <a:pt x="80025" y="36327"/>
                    <a:pt x="71317" y="34974"/>
                    <a:pt x="63970" y="31829"/>
                  </a:cubicBezTo>
                  <a:lnTo>
                    <a:pt x="52794" y="27799"/>
                  </a:lnTo>
                  <a:cubicBezTo>
                    <a:pt x="49277" y="26254"/>
                    <a:pt x="45873" y="24708"/>
                    <a:pt x="42611" y="23245"/>
                  </a:cubicBezTo>
                  <a:cubicBezTo>
                    <a:pt x="36565" y="20638"/>
                    <a:pt x="30666" y="17718"/>
                    <a:pt x="24940" y="14497"/>
                  </a:cubicBezTo>
                  <a:cubicBezTo>
                    <a:pt x="20323" y="12208"/>
                    <a:pt x="15861" y="9636"/>
                    <a:pt x="11580" y="6797"/>
                  </a:cubicBezTo>
                  <a:cubicBezTo>
                    <a:pt x="4318" y="2243"/>
                    <a:pt x="-107" y="-296"/>
                    <a:pt x="-107" y="-296"/>
                  </a:cubicBezTo>
                  <a:cubicBezTo>
                    <a:pt x="-107" y="-296"/>
                    <a:pt x="2730" y="3623"/>
                    <a:pt x="8403" y="10384"/>
                  </a:cubicBezTo>
                  <a:cubicBezTo>
                    <a:pt x="9793" y="12068"/>
                    <a:pt x="11409" y="13917"/>
                    <a:pt x="13083" y="15904"/>
                  </a:cubicBezTo>
                  <a:lnTo>
                    <a:pt x="19352" y="21755"/>
                  </a:lnTo>
                  <a:cubicBezTo>
                    <a:pt x="24246" y="26640"/>
                    <a:pt x="29602" y="31066"/>
                    <a:pt x="35350" y="34974"/>
                  </a:cubicBezTo>
                  <a:lnTo>
                    <a:pt x="45164" y="41902"/>
                  </a:lnTo>
                  <a:lnTo>
                    <a:pt x="56510" y="48029"/>
                  </a:lnTo>
                  <a:cubicBezTo>
                    <a:pt x="64772" y="52366"/>
                    <a:pt x="73375" y="56058"/>
                    <a:pt x="82238" y="59069"/>
                  </a:cubicBezTo>
                  <a:cubicBezTo>
                    <a:pt x="91814" y="62188"/>
                    <a:pt x="101632" y="64560"/>
                    <a:pt x="111596" y="66161"/>
                  </a:cubicBezTo>
                  <a:cubicBezTo>
                    <a:pt x="121924" y="67744"/>
                    <a:pt x="132346" y="68665"/>
                    <a:pt x="142798" y="68921"/>
                  </a:cubicBezTo>
                  <a:cubicBezTo>
                    <a:pt x="153249" y="68654"/>
                    <a:pt x="163671" y="67733"/>
                    <a:pt x="174000" y="66161"/>
                  </a:cubicBezTo>
                  <a:cubicBezTo>
                    <a:pt x="183952" y="64534"/>
                    <a:pt x="193758" y="62153"/>
                    <a:pt x="203330" y="59041"/>
                  </a:cubicBezTo>
                  <a:cubicBezTo>
                    <a:pt x="212190" y="56024"/>
                    <a:pt x="220793" y="52333"/>
                    <a:pt x="229057" y="48001"/>
                  </a:cubicBezTo>
                  <a:lnTo>
                    <a:pt x="240402" y="41847"/>
                  </a:lnTo>
                  <a:lnTo>
                    <a:pt x="250217" y="34947"/>
                  </a:lnTo>
                  <a:cubicBezTo>
                    <a:pt x="256003" y="31002"/>
                    <a:pt x="261405" y="26549"/>
                    <a:pt x="266357" y="21645"/>
                  </a:cubicBezTo>
                  <a:cubicBezTo>
                    <a:pt x="268626" y="19547"/>
                    <a:pt x="270697" y="17588"/>
                    <a:pt x="272625" y="15738"/>
                  </a:cubicBezTo>
                  <a:lnTo>
                    <a:pt x="277249" y="10218"/>
                  </a:lnTo>
                  <a:cubicBezTo>
                    <a:pt x="282752" y="3540"/>
                    <a:pt x="285759" y="-462"/>
                    <a:pt x="285759" y="-462"/>
                  </a:cubicBezTo>
                  <a:cubicBezTo>
                    <a:pt x="285759" y="-462"/>
                    <a:pt x="281362" y="2049"/>
                    <a:pt x="274016" y="6686"/>
                  </a:cubicBezTo>
                </a:path>
              </a:pathLst>
            </a:custGeom>
            <a:solidFill>
              <a:srgbClr val="00B9EF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CF97C022-A3FC-8C49-8882-82266FD87C15}"/>
              </a:ext>
            </a:extLst>
          </p:cNvPr>
          <p:cNvGrpSpPr/>
          <p:nvPr userDrawn="1"/>
        </p:nvGrpSpPr>
        <p:grpSpPr>
          <a:xfrm flipH="1">
            <a:off x="10922970" y="265689"/>
            <a:ext cx="861660" cy="915414"/>
            <a:chOff x="5987573" y="-1960510"/>
            <a:chExt cx="872744" cy="1409571"/>
          </a:xfrm>
        </p:grpSpPr>
        <p:sp>
          <p:nvSpPr>
            <p:cNvPr id="18" name="フリーフォーム 17">
              <a:extLst>
                <a:ext uri="{FF2B5EF4-FFF2-40B4-BE49-F238E27FC236}">
                  <a16:creationId xmlns:a16="http://schemas.microsoft.com/office/drawing/2014/main" id="{549E8423-1920-2343-8430-782838734BA0}"/>
                </a:ext>
              </a:extLst>
            </p:cNvPr>
            <p:cNvSpPr/>
            <p:nvPr/>
          </p:nvSpPr>
          <p:spPr>
            <a:xfrm rot="5400000">
              <a:off x="5810553" y="-1384053"/>
              <a:ext cx="1084316" cy="256931"/>
            </a:xfrm>
            <a:custGeom>
              <a:avLst/>
              <a:gdLst>
                <a:gd name="connsiteX0" fmla="*/ 1015883 w 1016073"/>
                <a:gd name="connsiteY0" fmla="*/ -353 h 240760"/>
                <a:gd name="connsiteX1" fmla="*/ 1008139 w 1016073"/>
                <a:gd name="connsiteY1" fmla="*/ 9638 h 240760"/>
                <a:gd name="connsiteX2" fmla="*/ 985249 w 1016073"/>
                <a:gd name="connsiteY2" fmla="*/ 36988 h 240760"/>
                <a:gd name="connsiteX3" fmla="*/ 967662 w 1016073"/>
                <a:gd name="connsiteY3" fmla="*/ 55921 h 240760"/>
                <a:gd name="connsiteX4" fmla="*/ 945537 w 1016073"/>
                <a:gd name="connsiteY4" fmla="*/ 76785 h 240760"/>
                <a:gd name="connsiteX5" fmla="*/ 888211 w 1016073"/>
                <a:gd name="connsiteY5" fmla="*/ 122709 h 240760"/>
                <a:gd name="connsiteX6" fmla="*/ 852754 w 1016073"/>
                <a:gd name="connsiteY6" fmla="*/ 145920 h 240760"/>
                <a:gd name="connsiteX7" fmla="*/ 812844 w 1016073"/>
                <a:gd name="connsiteY7" fmla="*/ 167999 h 240760"/>
                <a:gd name="connsiteX8" fmla="*/ 721508 w 1016073"/>
                <a:gd name="connsiteY8" fmla="*/ 206168 h 240760"/>
                <a:gd name="connsiteX9" fmla="*/ 617946 w 1016073"/>
                <a:gd name="connsiteY9" fmla="*/ 231365 h 240760"/>
                <a:gd name="connsiteX10" fmla="*/ 397831 w 1016073"/>
                <a:gd name="connsiteY10" fmla="*/ 231365 h 240760"/>
                <a:gd name="connsiteX11" fmla="*/ 294269 w 1016073"/>
                <a:gd name="connsiteY11" fmla="*/ 206196 h 240760"/>
                <a:gd name="connsiteX12" fmla="*/ 202905 w 1016073"/>
                <a:gd name="connsiteY12" fmla="*/ 168055 h 240760"/>
                <a:gd name="connsiteX13" fmla="*/ 162995 w 1016073"/>
                <a:gd name="connsiteY13" fmla="*/ 145975 h 240760"/>
                <a:gd name="connsiteX14" fmla="*/ 127538 w 1016073"/>
                <a:gd name="connsiteY14" fmla="*/ 122765 h 240760"/>
                <a:gd name="connsiteX15" fmla="*/ 96592 w 1016073"/>
                <a:gd name="connsiteY15" fmla="*/ 99416 h 240760"/>
                <a:gd name="connsiteX16" fmla="*/ 70184 w 1016073"/>
                <a:gd name="connsiteY16" fmla="*/ 76813 h 240760"/>
                <a:gd name="connsiteX17" fmla="*/ 48115 w 1016073"/>
                <a:gd name="connsiteY17" fmla="*/ 55921 h 240760"/>
                <a:gd name="connsiteX18" fmla="*/ 30614 w 1016073"/>
                <a:gd name="connsiteY18" fmla="*/ 37043 h 240760"/>
                <a:gd name="connsiteX19" fmla="*/ 7610 w 1016073"/>
                <a:gd name="connsiteY19" fmla="*/ 9582 h 240760"/>
                <a:gd name="connsiteX20" fmla="*/ -106 w 1016073"/>
                <a:gd name="connsiteY20" fmla="*/ -381 h 240760"/>
                <a:gd name="connsiteX21" fmla="*/ 10531 w 1016073"/>
                <a:gd name="connsiteY21" fmla="*/ 6601 h 240760"/>
                <a:gd name="connsiteX22" fmla="*/ 40258 w 1016073"/>
                <a:gd name="connsiteY22" fmla="*/ 26334 h 240760"/>
                <a:gd name="connsiteX23" fmla="*/ 61589 w 1016073"/>
                <a:gd name="connsiteY23" fmla="*/ 39830 h 240760"/>
                <a:gd name="connsiteX24" fmla="*/ 87118 w 1016073"/>
                <a:gd name="connsiteY24" fmla="*/ 54817 h 240760"/>
                <a:gd name="connsiteX25" fmla="*/ 149521 w 1016073"/>
                <a:gd name="connsiteY25" fmla="*/ 87134 h 240760"/>
                <a:gd name="connsiteX26" fmla="*/ 185914 w 1016073"/>
                <a:gd name="connsiteY26" fmla="*/ 103390 h 240760"/>
                <a:gd name="connsiteX27" fmla="*/ 225625 w 1016073"/>
                <a:gd name="connsiteY27" fmla="*/ 118652 h 240760"/>
                <a:gd name="connsiteX28" fmla="*/ 312849 w 1016073"/>
                <a:gd name="connsiteY28" fmla="*/ 145092 h 240760"/>
                <a:gd name="connsiteX29" fmla="*/ 408241 w 1016073"/>
                <a:gd name="connsiteY29" fmla="*/ 162423 h 240760"/>
                <a:gd name="connsiteX30" fmla="*/ 607649 w 1016073"/>
                <a:gd name="connsiteY30" fmla="*/ 162423 h 240760"/>
                <a:gd name="connsiteX31" fmla="*/ 703070 w 1016073"/>
                <a:gd name="connsiteY31" fmla="*/ 145119 h 240760"/>
                <a:gd name="connsiteX32" fmla="*/ 790293 w 1016073"/>
                <a:gd name="connsiteY32" fmla="*/ 118707 h 240760"/>
                <a:gd name="connsiteX33" fmla="*/ 830005 w 1016073"/>
                <a:gd name="connsiteY33" fmla="*/ 103417 h 240760"/>
                <a:gd name="connsiteX34" fmla="*/ 866398 w 1016073"/>
                <a:gd name="connsiteY34" fmla="*/ 87162 h 240760"/>
                <a:gd name="connsiteX35" fmla="*/ 928801 w 1016073"/>
                <a:gd name="connsiteY35" fmla="*/ 54789 h 240760"/>
                <a:gd name="connsiteX36" fmla="*/ 954330 w 1016073"/>
                <a:gd name="connsiteY36" fmla="*/ 39803 h 240760"/>
                <a:gd name="connsiteX37" fmla="*/ 975519 w 1016073"/>
                <a:gd name="connsiteY37" fmla="*/ 26362 h 240760"/>
                <a:gd name="connsiteX38" fmla="*/ 1005331 w 1016073"/>
                <a:gd name="connsiteY38" fmla="*/ 6547 h 240760"/>
                <a:gd name="connsiteX39" fmla="*/ 1015968 w 1016073"/>
                <a:gd name="connsiteY39" fmla="*/ -463 h 240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6073" h="240760">
                  <a:moveTo>
                    <a:pt x="1015883" y="-353"/>
                  </a:moveTo>
                  <a:lnTo>
                    <a:pt x="1008139" y="9638"/>
                  </a:lnTo>
                  <a:cubicBezTo>
                    <a:pt x="1002750" y="15902"/>
                    <a:pt x="996112" y="25921"/>
                    <a:pt x="985249" y="36988"/>
                  </a:cubicBezTo>
                  <a:lnTo>
                    <a:pt x="967662" y="55921"/>
                  </a:lnTo>
                  <a:cubicBezTo>
                    <a:pt x="961024" y="62544"/>
                    <a:pt x="953479" y="69306"/>
                    <a:pt x="945537" y="76785"/>
                  </a:cubicBezTo>
                  <a:cubicBezTo>
                    <a:pt x="927390" y="93196"/>
                    <a:pt x="908247" y="108532"/>
                    <a:pt x="888211" y="122709"/>
                  </a:cubicBezTo>
                  <a:cubicBezTo>
                    <a:pt x="877177" y="130575"/>
                    <a:pt x="865093" y="137889"/>
                    <a:pt x="852754" y="145920"/>
                  </a:cubicBezTo>
                  <a:cubicBezTo>
                    <a:pt x="839961" y="153068"/>
                    <a:pt x="826942" y="161016"/>
                    <a:pt x="812844" y="167999"/>
                  </a:cubicBezTo>
                  <a:cubicBezTo>
                    <a:pt x="783417" y="182915"/>
                    <a:pt x="752887" y="195674"/>
                    <a:pt x="721508" y="206168"/>
                  </a:cubicBezTo>
                  <a:cubicBezTo>
                    <a:pt x="687687" y="217088"/>
                    <a:pt x="653069" y="225511"/>
                    <a:pt x="617946" y="231365"/>
                  </a:cubicBezTo>
                  <a:cubicBezTo>
                    <a:pt x="545085" y="243275"/>
                    <a:pt x="470692" y="243275"/>
                    <a:pt x="397831" y="231365"/>
                  </a:cubicBezTo>
                  <a:cubicBezTo>
                    <a:pt x="362707" y="225533"/>
                    <a:pt x="328087" y="217119"/>
                    <a:pt x="294269" y="206196"/>
                  </a:cubicBezTo>
                  <a:cubicBezTo>
                    <a:pt x="262894" y="195679"/>
                    <a:pt x="232357" y="182931"/>
                    <a:pt x="202905" y="168055"/>
                  </a:cubicBezTo>
                  <a:cubicBezTo>
                    <a:pt x="188722" y="161154"/>
                    <a:pt x="175788" y="153206"/>
                    <a:pt x="162995" y="145975"/>
                  </a:cubicBezTo>
                  <a:cubicBezTo>
                    <a:pt x="150684" y="137944"/>
                    <a:pt x="138601" y="130603"/>
                    <a:pt x="127538" y="122765"/>
                  </a:cubicBezTo>
                  <a:cubicBezTo>
                    <a:pt x="116476" y="114927"/>
                    <a:pt x="105924" y="107448"/>
                    <a:pt x="96592" y="99416"/>
                  </a:cubicBezTo>
                  <a:cubicBezTo>
                    <a:pt x="87260" y="91385"/>
                    <a:pt x="78154" y="84264"/>
                    <a:pt x="70184" y="76813"/>
                  </a:cubicBezTo>
                  <a:cubicBezTo>
                    <a:pt x="62213" y="69361"/>
                    <a:pt x="54696" y="62544"/>
                    <a:pt x="48115" y="55921"/>
                  </a:cubicBezTo>
                  <a:lnTo>
                    <a:pt x="30614" y="37043"/>
                  </a:lnTo>
                  <a:cubicBezTo>
                    <a:pt x="19835" y="26003"/>
                    <a:pt x="12943" y="15820"/>
                    <a:pt x="7610" y="9582"/>
                  </a:cubicBezTo>
                  <a:cubicBezTo>
                    <a:pt x="2277" y="3345"/>
                    <a:pt x="-106" y="-381"/>
                    <a:pt x="-106" y="-381"/>
                  </a:cubicBezTo>
                  <a:lnTo>
                    <a:pt x="10531" y="6601"/>
                  </a:lnTo>
                  <a:cubicBezTo>
                    <a:pt x="17509" y="11155"/>
                    <a:pt x="27239" y="18221"/>
                    <a:pt x="40258" y="26334"/>
                  </a:cubicBezTo>
                  <a:cubicBezTo>
                    <a:pt x="46697" y="30391"/>
                    <a:pt x="53817" y="34890"/>
                    <a:pt x="61589" y="39830"/>
                  </a:cubicBezTo>
                  <a:cubicBezTo>
                    <a:pt x="69673" y="44274"/>
                    <a:pt x="78041" y="49490"/>
                    <a:pt x="87118" y="54817"/>
                  </a:cubicBezTo>
                  <a:cubicBezTo>
                    <a:pt x="105442" y="65194"/>
                    <a:pt x="126432" y="76067"/>
                    <a:pt x="149521" y="87134"/>
                  </a:cubicBezTo>
                  <a:cubicBezTo>
                    <a:pt x="161095" y="92654"/>
                    <a:pt x="173405" y="97843"/>
                    <a:pt x="185914" y="103390"/>
                  </a:cubicBezTo>
                  <a:cubicBezTo>
                    <a:pt x="198877" y="108192"/>
                    <a:pt x="211698" y="114126"/>
                    <a:pt x="225625" y="118652"/>
                  </a:cubicBezTo>
                  <a:cubicBezTo>
                    <a:pt x="254215" y="128915"/>
                    <a:pt x="283328" y="137740"/>
                    <a:pt x="312849" y="145092"/>
                  </a:cubicBezTo>
                  <a:cubicBezTo>
                    <a:pt x="344323" y="152443"/>
                    <a:pt x="376162" y="158228"/>
                    <a:pt x="408241" y="162423"/>
                  </a:cubicBezTo>
                  <a:cubicBezTo>
                    <a:pt x="474455" y="170448"/>
                    <a:pt x="541436" y="170448"/>
                    <a:pt x="607649" y="162423"/>
                  </a:cubicBezTo>
                  <a:cubicBezTo>
                    <a:pt x="639739" y="158248"/>
                    <a:pt x="671588" y="152472"/>
                    <a:pt x="703070" y="145119"/>
                  </a:cubicBezTo>
                  <a:cubicBezTo>
                    <a:pt x="732590" y="137773"/>
                    <a:pt x="761703" y="128958"/>
                    <a:pt x="790293" y="118707"/>
                  </a:cubicBezTo>
                  <a:cubicBezTo>
                    <a:pt x="804164" y="114154"/>
                    <a:pt x="816985" y="108220"/>
                    <a:pt x="830005" y="103417"/>
                  </a:cubicBezTo>
                  <a:cubicBezTo>
                    <a:pt x="842543" y="97898"/>
                    <a:pt x="854825" y="92627"/>
                    <a:pt x="866398" y="87162"/>
                  </a:cubicBezTo>
                  <a:cubicBezTo>
                    <a:pt x="889516" y="76123"/>
                    <a:pt x="910534" y="65083"/>
                    <a:pt x="928801" y="54789"/>
                  </a:cubicBezTo>
                  <a:cubicBezTo>
                    <a:pt x="937850" y="49462"/>
                    <a:pt x="946218" y="44246"/>
                    <a:pt x="954330" y="39803"/>
                  </a:cubicBezTo>
                  <a:cubicBezTo>
                    <a:pt x="962045" y="34918"/>
                    <a:pt x="969137" y="30447"/>
                    <a:pt x="975519" y="26362"/>
                  </a:cubicBezTo>
                  <a:cubicBezTo>
                    <a:pt x="988482" y="18358"/>
                    <a:pt x="998438" y="11073"/>
                    <a:pt x="1005331" y="6547"/>
                  </a:cubicBezTo>
                  <a:lnTo>
                    <a:pt x="1015968" y="-463"/>
                  </a:lnTo>
                </a:path>
              </a:pathLst>
            </a:custGeom>
            <a:solidFill>
              <a:srgbClr val="0085CD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  <p:sp>
          <p:nvSpPr>
            <p:cNvPr id="19" name="フリーフォーム 18">
              <a:extLst>
                <a:ext uri="{FF2B5EF4-FFF2-40B4-BE49-F238E27FC236}">
                  <a16:creationId xmlns:a16="http://schemas.microsoft.com/office/drawing/2014/main" id="{6D785C00-E8AE-F647-8A9A-EEEC5A57A07F}"/>
                </a:ext>
              </a:extLst>
            </p:cNvPr>
            <p:cNvSpPr/>
            <p:nvPr/>
          </p:nvSpPr>
          <p:spPr>
            <a:xfrm rot="5400000">
              <a:off x="5449773" y="-1422710"/>
              <a:ext cx="1409571" cy="333972"/>
            </a:xfrm>
            <a:custGeom>
              <a:avLst/>
              <a:gdLst>
                <a:gd name="connsiteX0" fmla="*/ 1307053 w 1320858"/>
                <a:gd name="connsiteY0" fmla="*/ 8644 h 312953"/>
                <a:gd name="connsiteX1" fmla="*/ 1268335 w 1320858"/>
                <a:gd name="connsiteY1" fmla="*/ 34393 h 312953"/>
                <a:gd name="connsiteX2" fmla="*/ 1240735 w 1320858"/>
                <a:gd name="connsiteY2" fmla="*/ 51864 h 312953"/>
                <a:gd name="connsiteX3" fmla="*/ 1207604 w 1320858"/>
                <a:gd name="connsiteY3" fmla="*/ 71375 h 312953"/>
                <a:gd name="connsiteX4" fmla="*/ 1126423 w 1320858"/>
                <a:gd name="connsiteY4" fmla="*/ 113408 h 312953"/>
                <a:gd name="connsiteX5" fmla="*/ 1079110 w 1320858"/>
                <a:gd name="connsiteY5" fmla="*/ 134577 h 312953"/>
                <a:gd name="connsiteX6" fmla="*/ 1027570 w 1320858"/>
                <a:gd name="connsiteY6" fmla="*/ 154448 h 312953"/>
                <a:gd name="connsiteX7" fmla="*/ 914109 w 1320858"/>
                <a:gd name="connsiteY7" fmla="*/ 188836 h 312953"/>
                <a:gd name="connsiteX8" fmla="*/ 790010 w 1320858"/>
                <a:gd name="connsiteY8" fmla="*/ 211301 h 312953"/>
                <a:gd name="connsiteX9" fmla="*/ 660381 w 1320858"/>
                <a:gd name="connsiteY9" fmla="*/ 219111 h 312953"/>
                <a:gd name="connsiteX10" fmla="*/ 530780 w 1320858"/>
                <a:gd name="connsiteY10" fmla="*/ 211217 h 312953"/>
                <a:gd name="connsiteX11" fmla="*/ 406710 w 1320858"/>
                <a:gd name="connsiteY11" fmla="*/ 188697 h 312953"/>
                <a:gd name="connsiteX12" fmla="*/ 293248 w 1320858"/>
                <a:gd name="connsiteY12" fmla="*/ 154309 h 312953"/>
                <a:gd name="connsiteX13" fmla="*/ 241709 w 1320858"/>
                <a:gd name="connsiteY13" fmla="*/ 134466 h 312953"/>
                <a:gd name="connsiteX14" fmla="*/ 194396 w 1320858"/>
                <a:gd name="connsiteY14" fmla="*/ 113298 h 312953"/>
                <a:gd name="connsiteX15" fmla="*/ 113214 w 1320858"/>
                <a:gd name="connsiteY15" fmla="*/ 71293 h 312953"/>
                <a:gd name="connsiteX16" fmla="*/ 80055 w 1320858"/>
                <a:gd name="connsiteY16" fmla="*/ 51808 h 312953"/>
                <a:gd name="connsiteX17" fmla="*/ 52342 w 1320858"/>
                <a:gd name="connsiteY17" fmla="*/ 34283 h 312953"/>
                <a:gd name="connsiteX18" fmla="*/ 13737 w 1320858"/>
                <a:gd name="connsiteY18" fmla="*/ 8644 h 312953"/>
                <a:gd name="connsiteX19" fmla="*/ -105 w 1320858"/>
                <a:gd name="connsiteY19" fmla="*/ -464 h 312953"/>
                <a:gd name="connsiteX20" fmla="*/ 9908 w 1320858"/>
                <a:gd name="connsiteY20" fmla="*/ 12481 h 312953"/>
                <a:gd name="connsiteX21" fmla="*/ 39833 w 1320858"/>
                <a:gd name="connsiteY21" fmla="*/ 48220 h 312953"/>
                <a:gd name="connsiteX22" fmla="*/ 62525 w 1320858"/>
                <a:gd name="connsiteY22" fmla="*/ 72756 h 312953"/>
                <a:gd name="connsiteX23" fmla="*/ 91231 w 1320858"/>
                <a:gd name="connsiteY23" fmla="*/ 99913 h 312953"/>
                <a:gd name="connsiteX24" fmla="*/ 125553 w 1320858"/>
                <a:gd name="connsiteY24" fmla="*/ 129333 h 312953"/>
                <a:gd name="connsiteX25" fmla="*/ 165803 w 1320858"/>
                <a:gd name="connsiteY25" fmla="*/ 159691 h 312953"/>
                <a:gd name="connsiteX26" fmla="*/ 211897 w 1320858"/>
                <a:gd name="connsiteY26" fmla="*/ 189857 h 312953"/>
                <a:gd name="connsiteX27" fmla="*/ 263777 w 1320858"/>
                <a:gd name="connsiteY27" fmla="*/ 218449 h 312953"/>
                <a:gd name="connsiteX28" fmla="*/ 382571 w 1320858"/>
                <a:gd name="connsiteY28" fmla="*/ 268126 h 312953"/>
                <a:gd name="connsiteX29" fmla="*/ 517221 w 1320858"/>
                <a:gd name="connsiteY29" fmla="*/ 300858 h 312953"/>
                <a:gd name="connsiteX30" fmla="*/ 803427 w 1320858"/>
                <a:gd name="connsiteY30" fmla="*/ 300858 h 312953"/>
                <a:gd name="connsiteX31" fmla="*/ 938049 w 1320858"/>
                <a:gd name="connsiteY31" fmla="*/ 268044 h 312953"/>
                <a:gd name="connsiteX32" fmla="*/ 1056815 w 1320858"/>
                <a:gd name="connsiteY32" fmla="*/ 218366 h 312953"/>
                <a:gd name="connsiteX33" fmla="*/ 1108666 w 1320858"/>
                <a:gd name="connsiteY33" fmla="*/ 189802 h 312953"/>
                <a:gd name="connsiteX34" fmla="*/ 1154760 w 1320858"/>
                <a:gd name="connsiteY34" fmla="*/ 159637 h 312953"/>
                <a:gd name="connsiteX35" fmla="*/ 1229332 w 1320858"/>
                <a:gd name="connsiteY35" fmla="*/ 99913 h 312953"/>
                <a:gd name="connsiteX36" fmla="*/ 1258066 w 1320858"/>
                <a:gd name="connsiteY36" fmla="*/ 72811 h 312953"/>
                <a:gd name="connsiteX37" fmla="*/ 1280929 w 1320858"/>
                <a:gd name="connsiteY37" fmla="*/ 48193 h 312953"/>
                <a:gd name="connsiteX38" fmla="*/ 1310713 w 1320858"/>
                <a:gd name="connsiteY38" fmla="*/ 12618 h 312953"/>
                <a:gd name="connsiteX39" fmla="*/ 1320754 w 1320858"/>
                <a:gd name="connsiteY39" fmla="*/ -354 h 312953"/>
                <a:gd name="connsiteX40" fmla="*/ 1306940 w 1320858"/>
                <a:gd name="connsiteY40" fmla="*/ 8782 h 31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320858" h="312953">
                  <a:moveTo>
                    <a:pt x="1307053" y="8644"/>
                  </a:moveTo>
                  <a:cubicBezTo>
                    <a:pt x="1298090" y="14495"/>
                    <a:pt x="1285155" y="23989"/>
                    <a:pt x="1268335" y="34393"/>
                  </a:cubicBezTo>
                  <a:lnTo>
                    <a:pt x="1240735" y="51864"/>
                  </a:lnTo>
                  <a:cubicBezTo>
                    <a:pt x="1230240" y="57632"/>
                    <a:pt x="1219376" y="64421"/>
                    <a:pt x="1207604" y="71375"/>
                  </a:cubicBezTo>
                  <a:cubicBezTo>
                    <a:pt x="1183778" y="84872"/>
                    <a:pt x="1156547" y="98974"/>
                    <a:pt x="1126423" y="113408"/>
                  </a:cubicBezTo>
                  <a:cubicBezTo>
                    <a:pt x="1111389" y="120584"/>
                    <a:pt x="1095420" y="127374"/>
                    <a:pt x="1079110" y="134577"/>
                  </a:cubicBezTo>
                  <a:cubicBezTo>
                    <a:pt x="1062289" y="140786"/>
                    <a:pt x="1045610" y="148542"/>
                    <a:pt x="1027570" y="154448"/>
                  </a:cubicBezTo>
                  <a:cubicBezTo>
                    <a:pt x="990378" y="167789"/>
                    <a:pt x="952508" y="179266"/>
                    <a:pt x="914109" y="188836"/>
                  </a:cubicBezTo>
                  <a:cubicBezTo>
                    <a:pt x="873162" y="198373"/>
                    <a:pt x="831742" y="205872"/>
                    <a:pt x="790010" y="211301"/>
                  </a:cubicBezTo>
                  <a:cubicBezTo>
                    <a:pt x="746986" y="216279"/>
                    <a:pt x="703707" y="218887"/>
                    <a:pt x="660381" y="219111"/>
                  </a:cubicBezTo>
                  <a:cubicBezTo>
                    <a:pt x="617063" y="218833"/>
                    <a:pt x="573795" y="216198"/>
                    <a:pt x="530780" y="211217"/>
                  </a:cubicBezTo>
                  <a:cubicBezTo>
                    <a:pt x="489056" y="205768"/>
                    <a:pt x="447646" y="198251"/>
                    <a:pt x="406710" y="188697"/>
                  </a:cubicBezTo>
                  <a:cubicBezTo>
                    <a:pt x="368301" y="179160"/>
                    <a:pt x="330429" y="167682"/>
                    <a:pt x="293248" y="154309"/>
                  </a:cubicBezTo>
                  <a:cubicBezTo>
                    <a:pt x="275209" y="148432"/>
                    <a:pt x="258530" y="140676"/>
                    <a:pt x="241709" y="134466"/>
                  </a:cubicBezTo>
                  <a:cubicBezTo>
                    <a:pt x="225427" y="127236"/>
                    <a:pt x="209458" y="120474"/>
                    <a:pt x="194396" y="113298"/>
                  </a:cubicBezTo>
                  <a:cubicBezTo>
                    <a:pt x="164328" y="98947"/>
                    <a:pt x="137041" y="84789"/>
                    <a:pt x="113214" y="71293"/>
                  </a:cubicBezTo>
                  <a:cubicBezTo>
                    <a:pt x="101414" y="64365"/>
                    <a:pt x="90522" y="57494"/>
                    <a:pt x="80055" y="51808"/>
                  </a:cubicBezTo>
                  <a:lnTo>
                    <a:pt x="52342" y="34283"/>
                  </a:lnTo>
                  <a:cubicBezTo>
                    <a:pt x="35323" y="23795"/>
                    <a:pt x="22786" y="14522"/>
                    <a:pt x="13737" y="8644"/>
                  </a:cubicBezTo>
                  <a:lnTo>
                    <a:pt x="-105" y="-464"/>
                  </a:lnTo>
                  <a:lnTo>
                    <a:pt x="9908" y="12481"/>
                  </a:lnTo>
                  <a:cubicBezTo>
                    <a:pt x="16857" y="20567"/>
                    <a:pt x="25792" y="33869"/>
                    <a:pt x="39833" y="48220"/>
                  </a:cubicBezTo>
                  <a:cubicBezTo>
                    <a:pt x="46669" y="55617"/>
                    <a:pt x="54271" y="63842"/>
                    <a:pt x="62525" y="72756"/>
                  </a:cubicBezTo>
                  <a:cubicBezTo>
                    <a:pt x="70780" y="81670"/>
                    <a:pt x="80935" y="90171"/>
                    <a:pt x="91231" y="99913"/>
                  </a:cubicBezTo>
                  <a:cubicBezTo>
                    <a:pt x="101528" y="109655"/>
                    <a:pt x="113441" y="118901"/>
                    <a:pt x="125553" y="129333"/>
                  </a:cubicBezTo>
                  <a:cubicBezTo>
                    <a:pt x="137665" y="139766"/>
                    <a:pt x="151734" y="149039"/>
                    <a:pt x="165803" y="159691"/>
                  </a:cubicBezTo>
                  <a:cubicBezTo>
                    <a:pt x="179873" y="170345"/>
                    <a:pt x="195871" y="179452"/>
                    <a:pt x="211897" y="189857"/>
                  </a:cubicBezTo>
                  <a:cubicBezTo>
                    <a:pt x="228547" y="199130"/>
                    <a:pt x="245482" y="209480"/>
                    <a:pt x="263777" y="218449"/>
                  </a:cubicBezTo>
                  <a:cubicBezTo>
                    <a:pt x="302061" y="237838"/>
                    <a:pt x="341767" y="254443"/>
                    <a:pt x="382571" y="268126"/>
                  </a:cubicBezTo>
                  <a:cubicBezTo>
                    <a:pt x="426538" y="282338"/>
                    <a:pt x="471551" y="293281"/>
                    <a:pt x="517221" y="300858"/>
                  </a:cubicBezTo>
                  <a:cubicBezTo>
                    <a:pt x="611958" y="316367"/>
                    <a:pt x="708691" y="316367"/>
                    <a:pt x="803427" y="300858"/>
                  </a:cubicBezTo>
                  <a:cubicBezTo>
                    <a:pt x="849090" y="293250"/>
                    <a:pt x="894093" y="282279"/>
                    <a:pt x="938049" y="268044"/>
                  </a:cubicBezTo>
                  <a:cubicBezTo>
                    <a:pt x="978855" y="254388"/>
                    <a:pt x="1018554" y="237783"/>
                    <a:pt x="1056815" y="218366"/>
                  </a:cubicBezTo>
                  <a:cubicBezTo>
                    <a:pt x="1075110" y="209397"/>
                    <a:pt x="1092044" y="199047"/>
                    <a:pt x="1108666" y="189802"/>
                  </a:cubicBezTo>
                  <a:cubicBezTo>
                    <a:pt x="1124693" y="179370"/>
                    <a:pt x="1140435" y="169875"/>
                    <a:pt x="1154760" y="159637"/>
                  </a:cubicBezTo>
                  <a:cubicBezTo>
                    <a:pt x="1180821" y="141195"/>
                    <a:pt x="1205723" y="121251"/>
                    <a:pt x="1229332" y="99913"/>
                  </a:cubicBezTo>
                  <a:cubicBezTo>
                    <a:pt x="1239629" y="90226"/>
                    <a:pt x="1249443" y="81422"/>
                    <a:pt x="1258066" y="72811"/>
                  </a:cubicBezTo>
                  <a:cubicBezTo>
                    <a:pt x="1266690" y="64200"/>
                    <a:pt x="1274008" y="55589"/>
                    <a:pt x="1280929" y="48193"/>
                  </a:cubicBezTo>
                  <a:cubicBezTo>
                    <a:pt x="1295112" y="33786"/>
                    <a:pt x="1303621" y="20760"/>
                    <a:pt x="1310713" y="12618"/>
                  </a:cubicBezTo>
                  <a:lnTo>
                    <a:pt x="1320754" y="-354"/>
                  </a:lnTo>
                  <a:lnTo>
                    <a:pt x="1306940" y="8782"/>
                  </a:lnTo>
                </a:path>
              </a:pathLst>
            </a:custGeom>
            <a:solidFill>
              <a:srgbClr val="0075C2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  <p:sp>
          <p:nvSpPr>
            <p:cNvPr id="20" name="フリーフォーム 19">
              <a:extLst>
                <a:ext uri="{FF2B5EF4-FFF2-40B4-BE49-F238E27FC236}">
                  <a16:creationId xmlns:a16="http://schemas.microsoft.com/office/drawing/2014/main" id="{E5FD5683-2B80-6742-A13F-7B7B998AC8D4}"/>
                </a:ext>
              </a:extLst>
            </p:cNvPr>
            <p:cNvSpPr/>
            <p:nvPr/>
          </p:nvSpPr>
          <p:spPr>
            <a:xfrm rot="5400000">
              <a:off x="6099472" y="-1351438"/>
              <a:ext cx="824112" cy="191702"/>
            </a:xfrm>
            <a:custGeom>
              <a:avLst/>
              <a:gdLst>
                <a:gd name="connsiteX0" fmla="*/ 741703 w 772245"/>
                <a:gd name="connsiteY0" fmla="*/ 20015 h 179636"/>
                <a:gd name="connsiteX1" fmla="*/ 725791 w 772245"/>
                <a:gd name="connsiteY1" fmla="*/ 31055 h 179636"/>
                <a:gd name="connsiteX2" fmla="*/ 706275 w 772245"/>
                <a:gd name="connsiteY2" fmla="*/ 42260 h 179636"/>
                <a:gd name="connsiteX3" fmla="*/ 684462 w 772245"/>
                <a:gd name="connsiteY3" fmla="*/ 54900 h 179636"/>
                <a:gd name="connsiteX4" fmla="*/ 659359 w 772245"/>
                <a:gd name="connsiteY4" fmla="*/ 67403 h 179636"/>
                <a:gd name="connsiteX5" fmla="*/ 631986 w 772245"/>
                <a:gd name="connsiteY5" fmla="*/ 80484 h 179636"/>
                <a:gd name="connsiteX6" fmla="*/ 601664 w 772245"/>
                <a:gd name="connsiteY6" fmla="*/ 92103 h 179636"/>
                <a:gd name="connsiteX7" fmla="*/ 585949 w 772245"/>
                <a:gd name="connsiteY7" fmla="*/ 98230 h 179636"/>
                <a:gd name="connsiteX8" fmla="*/ 569356 w 772245"/>
                <a:gd name="connsiteY8" fmla="*/ 103060 h 179636"/>
                <a:gd name="connsiteX9" fmla="*/ 535317 w 772245"/>
                <a:gd name="connsiteY9" fmla="*/ 113078 h 179636"/>
                <a:gd name="connsiteX10" fmla="*/ 462305 w 772245"/>
                <a:gd name="connsiteY10" fmla="*/ 126022 h 179636"/>
                <a:gd name="connsiteX11" fmla="*/ 309870 w 772245"/>
                <a:gd name="connsiteY11" fmla="*/ 126022 h 179636"/>
                <a:gd name="connsiteX12" fmla="*/ 236857 w 772245"/>
                <a:gd name="connsiteY12" fmla="*/ 113051 h 179636"/>
                <a:gd name="connsiteX13" fmla="*/ 202819 w 772245"/>
                <a:gd name="connsiteY13" fmla="*/ 103004 h 179636"/>
                <a:gd name="connsiteX14" fmla="*/ 186197 w 772245"/>
                <a:gd name="connsiteY14" fmla="*/ 98203 h 179636"/>
                <a:gd name="connsiteX15" fmla="*/ 170540 w 772245"/>
                <a:gd name="connsiteY15" fmla="*/ 92075 h 179636"/>
                <a:gd name="connsiteX16" fmla="*/ 140217 w 772245"/>
                <a:gd name="connsiteY16" fmla="*/ 80457 h 179636"/>
                <a:gd name="connsiteX17" fmla="*/ 112816 w 772245"/>
                <a:gd name="connsiteY17" fmla="*/ 67375 h 179636"/>
                <a:gd name="connsiteX18" fmla="*/ 87656 w 772245"/>
                <a:gd name="connsiteY18" fmla="*/ 54845 h 179636"/>
                <a:gd name="connsiteX19" fmla="*/ 65701 w 772245"/>
                <a:gd name="connsiteY19" fmla="*/ 42094 h 179636"/>
                <a:gd name="connsiteX20" fmla="*/ 46158 w 772245"/>
                <a:gd name="connsiteY20" fmla="*/ 30862 h 179636"/>
                <a:gd name="connsiteX21" fmla="*/ 30415 w 772245"/>
                <a:gd name="connsiteY21" fmla="*/ 19988 h 179636"/>
                <a:gd name="connsiteX22" fmla="*/ -106 w 772245"/>
                <a:gd name="connsiteY22" fmla="*/ -463 h 179636"/>
                <a:gd name="connsiteX23" fmla="*/ 23976 w 772245"/>
                <a:gd name="connsiteY23" fmla="*/ 27136 h 179636"/>
                <a:gd name="connsiteX24" fmla="*/ 37137 w 772245"/>
                <a:gd name="connsiteY24" fmla="*/ 41598 h 179636"/>
                <a:gd name="connsiteX25" fmla="*/ 54440 w 772245"/>
                <a:gd name="connsiteY25" fmla="*/ 56721 h 179636"/>
                <a:gd name="connsiteX26" fmla="*/ 74296 w 772245"/>
                <a:gd name="connsiteY26" fmla="*/ 73970 h 179636"/>
                <a:gd name="connsiteX27" fmla="*/ 98208 w 772245"/>
                <a:gd name="connsiteY27" fmla="*/ 90889 h 179636"/>
                <a:gd name="connsiteX28" fmla="*/ 124871 w 772245"/>
                <a:gd name="connsiteY28" fmla="*/ 108773 h 179636"/>
                <a:gd name="connsiteX29" fmla="*/ 155449 w 772245"/>
                <a:gd name="connsiteY29" fmla="*/ 124642 h 179636"/>
                <a:gd name="connsiteX30" fmla="*/ 171532 w 772245"/>
                <a:gd name="connsiteY30" fmla="*/ 132922 h 179636"/>
                <a:gd name="connsiteX31" fmla="*/ 188552 w 772245"/>
                <a:gd name="connsiteY31" fmla="*/ 139932 h 179636"/>
                <a:gd name="connsiteX32" fmla="*/ 224377 w 772245"/>
                <a:gd name="connsiteY32" fmla="*/ 153731 h 179636"/>
                <a:gd name="connsiteX33" fmla="*/ 262784 w 772245"/>
                <a:gd name="connsiteY33" fmla="*/ 164053 h 179636"/>
                <a:gd name="connsiteX34" fmla="*/ 302835 w 772245"/>
                <a:gd name="connsiteY34" fmla="*/ 171946 h 179636"/>
                <a:gd name="connsiteX35" fmla="*/ 469056 w 772245"/>
                <a:gd name="connsiteY35" fmla="*/ 171946 h 179636"/>
                <a:gd name="connsiteX36" fmla="*/ 509108 w 772245"/>
                <a:gd name="connsiteY36" fmla="*/ 164026 h 179636"/>
                <a:gd name="connsiteX37" fmla="*/ 547515 w 772245"/>
                <a:gd name="connsiteY37" fmla="*/ 153703 h 179636"/>
                <a:gd name="connsiteX38" fmla="*/ 583340 w 772245"/>
                <a:gd name="connsiteY38" fmla="*/ 139904 h 179636"/>
                <a:gd name="connsiteX39" fmla="*/ 600359 w 772245"/>
                <a:gd name="connsiteY39" fmla="*/ 132922 h 179636"/>
                <a:gd name="connsiteX40" fmla="*/ 616414 w 772245"/>
                <a:gd name="connsiteY40" fmla="*/ 124642 h 179636"/>
                <a:gd name="connsiteX41" fmla="*/ 646992 w 772245"/>
                <a:gd name="connsiteY41" fmla="*/ 108773 h 179636"/>
                <a:gd name="connsiteX42" fmla="*/ 673655 w 772245"/>
                <a:gd name="connsiteY42" fmla="*/ 90916 h 179636"/>
                <a:gd name="connsiteX43" fmla="*/ 697624 w 772245"/>
                <a:gd name="connsiteY43" fmla="*/ 73970 h 179636"/>
                <a:gd name="connsiteX44" fmla="*/ 717735 w 772245"/>
                <a:gd name="connsiteY44" fmla="*/ 56584 h 179636"/>
                <a:gd name="connsiteX45" fmla="*/ 735095 w 772245"/>
                <a:gd name="connsiteY45" fmla="*/ 41404 h 179636"/>
                <a:gd name="connsiteX46" fmla="*/ 748057 w 772245"/>
                <a:gd name="connsiteY46" fmla="*/ 27136 h 179636"/>
                <a:gd name="connsiteX47" fmla="*/ 772140 w 772245"/>
                <a:gd name="connsiteY47" fmla="*/ -463 h 179636"/>
                <a:gd name="connsiteX48" fmla="*/ 741533 w 772245"/>
                <a:gd name="connsiteY48" fmla="*/ 20043 h 17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72245" h="179636">
                  <a:moveTo>
                    <a:pt x="741703" y="20015"/>
                  </a:moveTo>
                  <a:lnTo>
                    <a:pt x="725791" y="31055"/>
                  </a:lnTo>
                  <a:cubicBezTo>
                    <a:pt x="719578" y="34422"/>
                    <a:pt x="713196" y="38285"/>
                    <a:pt x="706275" y="42260"/>
                  </a:cubicBezTo>
                  <a:lnTo>
                    <a:pt x="684462" y="54900"/>
                  </a:lnTo>
                  <a:cubicBezTo>
                    <a:pt x="676974" y="59453"/>
                    <a:pt x="668010" y="63014"/>
                    <a:pt x="659359" y="67403"/>
                  </a:cubicBezTo>
                  <a:lnTo>
                    <a:pt x="631986" y="80484"/>
                  </a:lnTo>
                  <a:cubicBezTo>
                    <a:pt x="622059" y="84099"/>
                    <a:pt x="612131" y="88129"/>
                    <a:pt x="601664" y="92103"/>
                  </a:cubicBezTo>
                  <a:lnTo>
                    <a:pt x="585949" y="98230"/>
                  </a:lnTo>
                  <a:cubicBezTo>
                    <a:pt x="580589" y="100107"/>
                    <a:pt x="574916" y="101432"/>
                    <a:pt x="569356" y="103060"/>
                  </a:cubicBezTo>
                  <a:cubicBezTo>
                    <a:pt x="558010" y="106123"/>
                    <a:pt x="546664" y="109683"/>
                    <a:pt x="535317" y="113078"/>
                  </a:cubicBezTo>
                  <a:cubicBezTo>
                    <a:pt x="511223" y="118603"/>
                    <a:pt x="486853" y="122923"/>
                    <a:pt x="462305" y="126022"/>
                  </a:cubicBezTo>
                  <a:cubicBezTo>
                    <a:pt x="411751" y="133071"/>
                    <a:pt x="360423" y="133071"/>
                    <a:pt x="309870" y="126022"/>
                  </a:cubicBezTo>
                  <a:cubicBezTo>
                    <a:pt x="285324" y="122890"/>
                    <a:pt x="260956" y="118560"/>
                    <a:pt x="236857" y="113051"/>
                  </a:cubicBezTo>
                  <a:cubicBezTo>
                    <a:pt x="225313" y="109655"/>
                    <a:pt x="214165" y="106068"/>
                    <a:pt x="202819" y="103004"/>
                  </a:cubicBezTo>
                  <a:cubicBezTo>
                    <a:pt x="197146" y="101376"/>
                    <a:pt x="191473" y="100051"/>
                    <a:pt x="186197" y="98203"/>
                  </a:cubicBezTo>
                  <a:lnTo>
                    <a:pt x="170540" y="92075"/>
                  </a:lnTo>
                  <a:lnTo>
                    <a:pt x="140217" y="80457"/>
                  </a:lnTo>
                  <a:lnTo>
                    <a:pt x="112816" y="67375"/>
                  </a:lnTo>
                  <a:cubicBezTo>
                    <a:pt x="104136" y="62987"/>
                    <a:pt x="95258" y="59481"/>
                    <a:pt x="87656" y="54845"/>
                  </a:cubicBezTo>
                  <a:lnTo>
                    <a:pt x="65701" y="42094"/>
                  </a:lnTo>
                  <a:cubicBezTo>
                    <a:pt x="58752" y="38120"/>
                    <a:pt x="52313" y="34228"/>
                    <a:pt x="46158" y="30862"/>
                  </a:cubicBezTo>
                  <a:lnTo>
                    <a:pt x="30415" y="19988"/>
                  </a:lnTo>
                  <a:cubicBezTo>
                    <a:pt x="11382" y="6851"/>
                    <a:pt x="-106" y="-463"/>
                    <a:pt x="-106" y="-463"/>
                  </a:cubicBezTo>
                  <a:cubicBezTo>
                    <a:pt x="-106" y="-463"/>
                    <a:pt x="8233" y="9694"/>
                    <a:pt x="23976" y="27136"/>
                  </a:cubicBezTo>
                  <a:cubicBezTo>
                    <a:pt x="27976" y="31496"/>
                    <a:pt x="32486" y="36326"/>
                    <a:pt x="37137" y="41598"/>
                  </a:cubicBezTo>
                  <a:cubicBezTo>
                    <a:pt x="42357" y="46372"/>
                    <a:pt x="48228" y="51285"/>
                    <a:pt x="54440" y="56721"/>
                  </a:cubicBezTo>
                  <a:lnTo>
                    <a:pt x="74296" y="73970"/>
                  </a:lnTo>
                  <a:cubicBezTo>
                    <a:pt x="81951" y="80020"/>
                    <a:pt x="89933" y="85668"/>
                    <a:pt x="98208" y="90889"/>
                  </a:cubicBezTo>
                  <a:lnTo>
                    <a:pt x="124871" y="108773"/>
                  </a:lnTo>
                  <a:cubicBezTo>
                    <a:pt x="134743" y="113878"/>
                    <a:pt x="144954" y="119205"/>
                    <a:pt x="155449" y="124642"/>
                  </a:cubicBezTo>
                  <a:cubicBezTo>
                    <a:pt x="160754" y="127402"/>
                    <a:pt x="166115" y="130162"/>
                    <a:pt x="171532" y="132922"/>
                  </a:cubicBezTo>
                  <a:cubicBezTo>
                    <a:pt x="176950" y="135682"/>
                    <a:pt x="182878" y="137530"/>
                    <a:pt x="188552" y="139932"/>
                  </a:cubicBezTo>
                  <a:cubicBezTo>
                    <a:pt x="200125" y="144651"/>
                    <a:pt x="212180" y="149012"/>
                    <a:pt x="224377" y="153731"/>
                  </a:cubicBezTo>
                  <a:lnTo>
                    <a:pt x="262784" y="164053"/>
                  </a:lnTo>
                  <a:cubicBezTo>
                    <a:pt x="275912" y="167656"/>
                    <a:pt x="289300" y="170295"/>
                    <a:pt x="302835" y="171946"/>
                  </a:cubicBezTo>
                  <a:cubicBezTo>
                    <a:pt x="357799" y="181583"/>
                    <a:pt x="414092" y="181583"/>
                    <a:pt x="469056" y="171946"/>
                  </a:cubicBezTo>
                  <a:cubicBezTo>
                    <a:pt x="482589" y="170272"/>
                    <a:pt x="495976" y="167625"/>
                    <a:pt x="509108" y="164026"/>
                  </a:cubicBezTo>
                  <a:lnTo>
                    <a:pt x="547515" y="153703"/>
                  </a:lnTo>
                  <a:cubicBezTo>
                    <a:pt x="559711" y="149067"/>
                    <a:pt x="571710" y="144651"/>
                    <a:pt x="583340" y="139904"/>
                  </a:cubicBezTo>
                  <a:cubicBezTo>
                    <a:pt x="589013" y="137530"/>
                    <a:pt x="594941" y="135460"/>
                    <a:pt x="600359" y="132922"/>
                  </a:cubicBezTo>
                  <a:lnTo>
                    <a:pt x="616414" y="124642"/>
                  </a:lnTo>
                  <a:cubicBezTo>
                    <a:pt x="626937" y="119122"/>
                    <a:pt x="637262" y="114071"/>
                    <a:pt x="646992" y="108773"/>
                  </a:cubicBezTo>
                  <a:lnTo>
                    <a:pt x="673655" y="90916"/>
                  </a:lnTo>
                  <a:cubicBezTo>
                    <a:pt x="681943" y="85679"/>
                    <a:pt x="689944" y="80023"/>
                    <a:pt x="697624" y="73970"/>
                  </a:cubicBezTo>
                  <a:lnTo>
                    <a:pt x="717735" y="56584"/>
                  </a:lnTo>
                  <a:cubicBezTo>
                    <a:pt x="723975" y="51064"/>
                    <a:pt x="729875" y="46179"/>
                    <a:pt x="735095" y="41404"/>
                  </a:cubicBezTo>
                  <a:cubicBezTo>
                    <a:pt x="739831" y="36244"/>
                    <a:pt x="744143" y="31469"/>
                    <a:pt x="748057" y="27136"/>
                  </a:cubicBezTo>
                  <a:cubicBezTo>
                    <a:pt x="763630" y="9887"/>
                    <a:pt x="772140" y="-463"/>
                    <a:pt x="772140" y="-463"/>
                  </a:cubicBezTo>
                  <a:cubicBezTo>
                    <a:pt x="772140" y="-463"/>
                    <a:pt x="760793" y="6741"/>
                    <a:pt x="741533" y="20043"/>
                  </a:cubicBezTo>
                </a:path>
              </a:pathLst>
            </a:custGeom>
            <a:solidFill>
              <a:srgbClr val="0095D8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  <p:sp>
          <p:nvSpPr>
            <p:cNvPr id="21" name="フリーフォーム 20">
              <a:extLst>
                <a:ext uri="{FF2B5EF4-FFF2-40B4-BE49-F238E27FC236}">
                  <a16:creationId xmlns:a16="http://schemas.microsoft.com/office/drawing/2014/main" id="{7442A50B-18A9-6947-AFDF-39696B2C1629}"/>
                </a:ext>
              </a:extLst>
            </p:cNvPr>
            <p:cNvSpPr/>
            <p:nvPr/>
          </p:nvSpPr>
          <p:spPr>
            <a:xfrm rot="5400000">
              <a:off x="6385212" y="-1321636"/>
              <a:ext cx="564785" cy="132309"/>
            </a:xfrm>
            <a:custGeom>
              <a:avLst/>
              <a:gdLst>
                <a:gd name="connsiteX0" fmla="*/ 507803 w 529240"/>
                <a:gd name="connsiteY0" fmla="*/ 13392 h 123982"/>
                <a:gd name="connsiteX1" fmla="*/ 496797 w 529240"/>
                <a:gd name="connsiteY1" fmla="*/ 20844 h 123982"/>
                <a:gd name="connsiteX2" fmla="*/ 483352 w 529240"/>
                <a:gd name="connsiteY2" fmla="*/ 28378 h 123982"/>
                <a:gd name="connsiteX3" fmla="*/ 451129 w 529240"/>
                <a:gd name="connsiteY3" fmla="*/ 45297 h 123982"/>
                <a:gd name="connsiteX4" fmla="*/ 432351 w 529240"/>
                <a:gd name="connsiteY4" fmla="*/ 54073 h 123982"/>
                <a:gd name="connsiteX5" fmla="*/ 411588 w 529240"/>
                <a:gd name="connsiteY5" fmla="*/ 61911 h 123982"/>
                <a:gd name="connsiteX6" fmla="*/ 400866 w 529240"/>
                <a:gd name="connsiteY6" fmla="*/ 66023 h 123982"/>
                <a:gd name="connsiteX7" fmla="*/ 389520 w 529240"/>
                <a:gd name="connsiteY7" fmla="*/ 69252 h 123982"/>
                <a:gd name="connsiteX8" fmla="*/ 366288 w 529240"/>
                <a:gd name="connsiteY8" fmla="*/ 76069 h 123982"/>
                <a:gd name="connsiteX9" fmla="*/ 316394 w 529240"/>
                <a:gd name="connsiteY9" fmla="*/ 84680 h 123982"/>
                <a:gd name="connsiteX10" fmla="*/ 212435 w 529240"/>
                <a:gd name="connsiteY10" fmla="*/ 84680 h 123982"/>
                <a:gd name="connsiteX11" fmla="*/ 162597 w 529240"/>
                <a:gd name="connsiteY11" fmla="*/ 76042 h 123982"/>
                <a:gd name="connsiteX12" fmla="*/ 139337 w 529240"/>
                <a:gd name="connsiteY12" fmla="*/ 69224 h 123982"/>
                <a:gd name="connsiteX13" fmla="*/ 127991 w 529240"/>
                <a:gd name="connsiteY13" fmla="*/ 65995 h 123982"/>
                <a:gd name="connsiteX14" fmla="*/ 117241 w 529240"/>
                <a:gd name="connsiteY14" fmla="*/ 61883 h 123982"/>
                <a:gd name="connsiteX15" fmla="*/ 96534 w 529240"/>
                <a:gd name="connsiteY15" fmla="*/ 54045 h 123982"/>
                <a:gd name="connsiteX16" fmla="*/ 77728 w 529240"/>
                <a:gd name="connsiteY16" fmla="*/ 45269 h 123982"/>
                <a:gd name="connsiteX17" fmla="*/ 45335 w 529240"/>
                <a:gd name="connsiteY17" fmla="*/ 28212 h 123982"/>
                <a:gd name="connsiteX18" fmla="*/ 31890 w 529240"/>
                <a:gd name="connsiteY18" fmla="*/ 20651 h 123982"/>
                <a:gd name="connsiteX19" fmla="*/ 21054 w 529240"/>
                <a:gd name="connsiteY19" fmla="*/ 13337 h 123982"/>
                <a:gd name="connsiteX20" fmla="*/ -106 w 529240"/>
                <a:gd name="connsiteY20" fmla="*/ -463 h 123982"/>
                <a:gd name="connsiteX21" fmla="*/ 16204 w 529240"/>
                <a:gd name="connsiteY21" fmla="*/ 18691 h 123982"/>
                <a:gd name="connsiteX22" fmla="*/ 25139 w 529240"/>
                <a:gd name="connsiteY22" fmla="*/ 28682 h 123982"/>
                <a:gd name="connsiteX23" fmla="*/ 36910 w 529240"/>
                <a:gd name="connsiteY23" fmla="*/ 39169 h 123982"/>
                <a:gd name="connsiteX24" fmla="*/ 50497 w 529240"/>
                <a:gd name="connsiteY24" fmla="*/ 51119 h 123982"/>
                <a:gd name="connsiteX25" fmla="*/ 66836 w 529240"/>
                <a:gd name="connsiteY25" fmla="*/ 62876 h 123982"/>
                <a:gd name="connsiteX26" fmla="*/ 85075 w 529240"/>
                <a:gd name="connsiteY26" fmla="*/ 75268 h 123982"/>
                <a:gd name="connsiteX27" fmla="*/ 106037 w 529240"/>
                <a:gd name="connsiteY27" fmla="*/ 86308 h 123982"/>
                <a:gd name="connsiteX28" fmla="*/ 153435 w 529240"/>
                <a:gd name="connsiteY28" fmla="*/ 106345 h 123982"/>
                <a:gd name="connsiteX29" fmla="*/ 207329 w 529240"/>
                <a:gd name="connsiteY29" fmla="*/ 119068 h 123982"/>
                <a:gd name="connsiteX30" fmla="*/ 375564 w 529240"/>
                <a:gd name="connsiteY30" fmla="*/ 106317 h 123982"/>
                <a:gd name="connsiteX31" fmla="*/ 400185 w 529240"/>
                <a:gd name="connsiteY31" fmla="*/ 96850 h 123982"/>
                <a:gd name="connsiteX32" fmla="*/ 411928 w 529240"/>
                <a:gd name="connsiteY32" fmla="*/ 91965 h 123982"/>
                <a:gd name="connsiteX33" fmla="*/ 422934 w 529240"/>
                <a:gd name="connsiteY33" fmla="*/ 86252 h 123982"/>
                <a:gd name="connsiteX34" fmla="*/ 443896 w 529240"/>
                <a:gd name="connsiteY34" fmla="*/ 75213 h 123982"/>
                <a:gd name="connsiteX35" fmla="*/ 462135 w 529240"/>
                <a:gd name="connsiteY35" fmla="*/ 62849 h 123982"/>
                <a:gd name="connsiteX36" fmla="*/ 478501 w 529240"/>
                <a:gd name="connsiteY36" fmla="*/ 51064 h 123982"/>
                <a:gd name="connsiteX37" fmla="*/ 492259 w 529240"/>
                <a:gd name="connsiteY37" fmla="*/ 39031 h 123982"/>
                <a:gd name="connsiteX38" fmla="*/ 504115 w 529240"/>
                <a:gd name="connsiteY38" fmla="*/ 28516 h 123982"/>
                <a:gd name="connsiteX39" fmla="*/ 512852 w 529240"/>
                <a:gd name="connsiteY39" fmla="*/ 18636 h 123982"/>
                <a:gd name="connsiteX40" fmla="*/ 529134 w 529240"/>
                <a:gd name="connsiteY40" fmla="*/ -463 h 123982"/>
                <a:gd name="connsiteX41" fmla="*/ 507973 w 529240"/>
                <a:gd name="connsiteY41" fmla="*/ 13337 h 123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29240" h="123982">
                  <a:moveTo>
                    <a:pt x="507803" y="13392"/>
                  </a:moveTo>
                  <a:lnTo>
                    <a:pt x="496797" y="20844"/>
                  </a:lnTo>
                  <a:lnTo>
                    <a:pt x="483352" y="28378"/>
                  </a:lnTo>
                  <a:cubicBezTo>
                    <a:pt x="472947" y="34604"/>
                    <a:pt x="462189" y="40253"/>
                    <a:pt x="451129" y="45297"/>
                  </a:cubicBezTo>
                  <a:lnTo>
                    <a:pt x="432351" y="54073"/>
                  </a:lnTo>
                  <a:cubicBezTo>
                    <a:pt x="425543" y="56501"/>
                    <a:pt x="418679" y="59233"/>
                    <a:pt x="411588" y="61911"/>
                  </a:cubicBezTo>
                  <a:lnTo>
                    <a:pt x="400866" y="66023"/>
                  </a:lnTo>
                  <a:cubicBezTo>
                    <a:pt x="397150" y="67265"/>
                    <a:pt x="393321" y="68148"/>
                    <a:pt x="389520" y="69252"/>
                  </a:cubicBezTo>
                  <a:cubicBezTo>
                    <a:pt x="381832" y="71266"/>
                    <a:pt x="374145" y="73778"/>
                    <a:pt x="366288" y="76069"/>
                  </a:cubicBezTo>
                  <a:cubicBezTo>
                    <a:pt x="349826" y="79801"/>
                    <a:pt x="333171" y="82675"/>
                    <a:pt x="316394" y="84680"/>
                  </a:cubicBezTo>
                  <a:cubicBezTo>
                    <a:pt x="281914" y="89439"/>
                    <a:pt x="246915" y="89439"/>
                    <a:pt x="212435" y="84680"/>
                  </a:cubicBezTo>
                  <a:cubicBezTo>
                    <a:pt x="195678" y="82656"/>
                    <a:pt x="179042" y="79772"/>
                    <a:pt x="162597" y="76042"/>
                  </a:cubicBezTo>
                  <a:cubicBezTo>
                    <a:pt x="154711" y="73778"/>
                    <a:pt x="147024" y="71212"/>
                    <a:pt x="139337" y="69224"/>
                  </a:cubicBezTo>
                  <a:cubicBezTo>
                    <a:pt x="135537" y="68121"/>
                    <a:pt x="131622" y="67237"/>
                    <a:pt x="127991" y="65995"/>
                  </a:cubicBezTo>
                  <a:lnTo>
                    <a:pt x="117241" y="61883"/>
                  </a:lnTo>
                  <a:lnTo>
                    <a:pt x="96534" y="54045"/>
                  </a:lnTo>
                  <a:lnTo>
                    <a:pt x="77728" y="45269"/>
                  </a:lnTo>
                  <a:cubicBezTo>
                    <a:pt x="66605" y="40188"/>
                    <a:pt x="55790" y="34494"/>
                    <a:pt x="45335" y="28212"/>
                  </a:cubicBezTo>
                  <a:cubicBezTo>
                    <a:pt x="40541" y="25452"/>
                    <a:pt x="36116" y="22914"/>
                    <a:pt x="31890" y="20651"/>
                  </a:cubicBezTo>
                  <a:cubicBezTo>
                    <a:pt x="27663" y="18388"/>
                    <a:pt x="24316" y="15545"/>
                    <a:pt x="21054" y="13337"/>
                  </a:cubicBezTo>
                  <a:cubicBezTo>
                    <a:pt x="7893" y="4478"/>
                    <a:pt x="-106" y="-463"/>
                    <a:pt x="-106" y="-463"/>
                  </a:cubicBezTo>
                  <a:cubicBezTo>
                    <a:pt x="-106" y="-463"/>
                    <a:pt x="5567" y="6575"/>
                    <a:pt x="16204" y="18691"/>
                  </a:cubicBezTo>
                  <a:cubicBezTo>
                    <a:pt x="19040" y="21699"/>
                    <a:pt x="21877" y="25039"/>
                    <a:pt x="25139" y="28682"/>
                  </a:cubicBezTo>
                  <a:cubicBezTo>
                    <a:pt x="28401" y="32324"/>
                    <a:pt x="32684" y="35415"/>
                    <a:pt x="36910" y="39169"/>
                  </a:cubicBezTo>
                  <a:lnTo>
                    <a:pt x="50497" y="51119"/>
                  </a:lnTo>
                  <a:cubicBezTo>
                    <a:pt x="55720" y="55324"/>
                    <a:pt x="61175" y="59248"/>
                    <a:pt x="66836" y="62876"/>
                  </a:cubicBezTo>
                  <a:lnTo>
                    <a:pt x="85075" y="75268"/>
                  </a:lnTo>
                  <a:cubicBezTo>
                    <a:pt x="91844" y="78819"/>
                    <a:pt x="98832" y="82499"/>
                    <a:pt x="106037" y="86308"/>
                  </a:cubicBezTo>
                  <a:cubicBezTo>
                    <a:pt x="121299" y="94131"/>
                    <a:pt x="137143" y="100828"/>
                    <a:pt x="153435" y="106345"/>
                  </a:cubicBezTo>
                  <a:cubicBezTo>
                    <a:pt x="171059" y="111850"/>
                    <a:pt x="189071" y="116102"/>
                    <a:pt x="207329" y="119068"/>
                  </a:cubicBezTo>
                  <a:cubicBezTo>
                    <a:pt x="263651" y="127911"/>
                    <a:pt x="321329" y="123539"/>
                    <a:pt x="375564" y="106317"/>
                  </a:cubicBezTo>
                  <a:cubicBezTo>
                    <a:pt x="384073" y="103143"/>
                    <a:pt x="392214" y="100134"/>
                    <a:pt x="400185" y="96850"/>
                  </a:cubicBezTo>
                  <a:cubicBezTo>
                    <a:pt x="404128" y="95195"/>
                    <a:pt x="408127" y="93759"/>
                    <a:pt x="411928" y="91965"/>
                  </a:cubicBezTo>
                  <a:lnTo>
                    <a:pt x="422934" y="86252"/>
                  </a:lnTo>
                  <a:cubicBezTo>
                    <a:pt x="430138" y="82444"/>
                    <a:pt x="437116" y="78939"/>
                    <a:pt x="443896" y="75213"/>
                  </a:cubicBezTo>
                  <a:lnTo>
                    <a:pt x="462135" y="62849"/>
                  </a:lnTo>
                  <a:cubicBezTo>
                    <a:pt x="467813" y="59222"/>
                    <a:pt x="473277" y="55288"/>
                    <a:pt x="478501" y="51064"/>
                  </a:cubicBezTo>
                  <a:cubicBezTo>
                    <a:pt x="483380" y="46814"/>
                    <a:pt x="487947" y="42785"/>
                    <a:pt x="492259" y="39031"/>
                  </a:cubicBezTo>
                  <a:cubicBezTo>
                    <a:pt x="496570" y="35278"/>
                    <a:pt x="500570" y="31828"/>
                    <a:pt x="504115" y="28516"/>
                  </a:cubicBezTo>
                  <a:lnTo>
                    <a:pt x="512852" y="18636"/>
                  </a:lnTo>
                  <a:cubicBezTo>
                    <a:pt x="523404" y="6686"/>
                    <a:pt x="529134" y="-463"/>
                    <a:pt x="529134" y="-463"/>
                  </a:cubicBezTo>
                  <a:cubicBezTo>
                    <a:pt x="529134" y="-463"/>
                    <a:pt x="521276" y="4395"/>
                    <a:pt x="507973" y="13337"/>
                  </a:cubicBezTo>
                </a:path>
              </a:pathLst>
            </a:custGeom>
            <a:solidFill>
              <a:srgbClr val="00A7E4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  <p:sp>
          <p:nvSpPr>
            <p:cNvPr id="22" name="フリーフォーム 21">
              <a:extLst>
                <a:ext uri="{FF2B5EF4-FFF2-40B4-BE49-F238E27FC236}">
                  <a16:creationId xmlns:a16="http://schemas.microsoft.com/office/drawing/2014/main" id="{ADC53F78-D07F-4F4C-9253-BF2C47F6EBD0}"/>
                </a:ext>
              </a:extLst>
            </p:cNvPr>
            <p:cNvSpPr/>
            <p:nvPr/>
          </p:nvSpPr>
          <p:spPr>
            <a:xfrm rot="5400000">
              <a:off x="6670763" y="-1292563"/>
              <a:ext cx="305065" cy="74043"/>
            </a:xfrm>
            <a:custGeom>
              <a:avLst/>
              <a:gdLst>
                <a:gd name="connsiteX0" fmla="*/ 273902 w 285865"/>
                <a:gd name="connsiteY0" fmla="*/ 6824 h 69383"/>
                <a:gd name="connsiteX1" fmla="*/ 267832 w 285865"/>
                <a:gd name="connsiteY1" fmla="*/ 10715 h 69383"/>
                <a:gd name="connsiteX2" fmla="*/ 260429 w 285865"/>
                <a:gd name="connsiteY2" fmla="*/ 14607 h 69383"/>
                <a:gd name="connsiteX3" fmla="*/ 242927 w 285865"/>
                <a:gd name="connsiteY3" fmla="*/ 23273 h 69383"/>
                <a:gd name="connsiteX4" fmla="*/ 232744 w 285865"/>
                <a:gd name="connsiteY4" fmla="*/ 27826 h 69383"/>
                <a:gd name="connsiteX5" fmla="*/ 221540 w 285865"/>
                <a:gd name="connsiteY5" fmla="*/ 31856 h 69383"/>
                <a:gd name="connsiteX6" fmla="*/ 197174 w 285865"/>
                <a:gd name="connsiteY6" fmla="*/ 39115 h 69383"/>
                <a:gd name="connsiteX7" fmla="*/ 170511 w 285865"/>
                <a:gd name="connsiteY7" fmla="*/ 43558 h 69383"/>
                <a:gd name="connsiteX8" fmla="*/ 142741 w 285865"/>
                <a:gd name="connsiteY8" fmla="*/ 45352 h 69383"/>
                <a:gd name="connsiteX9" fmla="*/ 115028 w 285865"/>
                <a:gd name="connsiteY9" fmla="*/ 43558 h 69383"/>
                <a:gd name="connsiteX10" fmla="*/ 88336 w 285865"/>
                <a:gd name="connsiteY10" fmla="*/ 39087 h 69383"/>
                <a:gd name="connsiteX11" fmla="*/ 63970 w 285865"/>
                <a:gd name="connsiteY11" fmla="*/ 31829 h 69383"/>
                <a:gd name="connsiteX12" fmla="*/ 52794 w 285865"/>
                <a:gd name="connsiteY12" fmla="*/ 27799 h 69383"/>
                <a:gd name="connsiteX13" fmla="*/ 42611 w 285865"/>
                <a:gd name="connsiteY13" fmla="*/ 23245 h 69383"/>
                <a:gd name="connsiteX14" fmla="*/ 24940 w 285865"/>
                <a:gd name="connsiteY14" fmla="*/ 14497 h 69383"/>
                <a:gd name="connsiteX15" fmla="*/ 11580 w 285865"/>
                <a:gd name="connsiteY15" fmla="*/ 6797 h 69383"/>
                <a:gd name="connsiteX16" fmla="*/ -107 w 285865"/>
                <a:gd name="connsiteY16" fmla="*/ -296 h 69383"/>
                <a:gd name="connsiteX17" fmla="*/ 8403 w 285865"/>
                <a:gd name="connsiteY17" fmla="*/ 10384 h 69383"/>
                <a:gd name="connsiteX18" fmla="*/ 13083 w 285865"/>
                <a:gd name="connsiteY18" fmla="*/ 15904 h 69383"/>
                <a:gd name="connsiteX19" fmla="*/ 19352 w 285865"/>
                <a:gd name="connsiteY19" fmla="*/ 21755 h 69383"/>
                <a:gd name="connsiteX20" fmla="*/ 35350 w 285865"/>
                <a:gd name="connsiteY20" fmla="*/ 34974 h 69383"/>
                <a:gd name="connsiteX21" fmla="*/ 45164 w 285865"/>
                <a:gd name="connsiteY21" fmla="*/ 41902 h 69383"/>
                <a:gd name="connsiteX22" fmla="*/ 56510 w 285865"/>
                <a:gd name="connsiteY22" fmla="*/ 48029 h 69383"/>
                <a:gd name="connsiteX23" fmla="*/ 82238 w 285865"/>
                <a:gd name="connsiteY23" fmla="*/ 59069 h 69383"/>
                <a:gd name="connsiteX24" fmla="*/ 111596 w 285865"/>
                <a:gd name="connsiteY24" fmla="*/ 66161 h 69383"/>
                <a:gd name="connsiteX25" fmla="*/ 142798 w 285865"/>
                <a:gd name="connsiteY25" fmla="*/ 68921 h 69383"/>
                <a:gd name="connsiteX26" fmla="*/ 174000 w 285865"/>
                <a:gd name="connsiteY26" fmla="*/ 66161 h 69383"/>
                <a:gd name="connsiteX27" fmla="*/ 203330 w 285865"/>
                <a:gd name="connsiteY27" fmla="*/ 59041 h 69383"/>
                <a:gd name="connsiteX28" fmla="*/ 229057 w 285865"/>
                <a:gd name="connsiteY28" fmla="*/ 48001 h 69383"/>
                <a:gd name="connsiteX29" fmla="*/ 240402 w 285865"/>
                <a:gd name="connsiteY29" fmla="*/ 41847 h 69383"/>
                <a:gd name="connsiteX30" fmla="*/ 250217 w 285865"/>
                <a:gd name="connsiteY30" fmla="*/ 34947 h 69383"/>
                <a:gd name="connsiteX31" fmla="*/ 266357 w 285865"/>
                <a:gd name="connsiteY31" fmla="*/ 21645 h 69383"/>
                <a:gd name="connsiteX32" fmla="*/ 272625 w 285865"/>
                <a:gd name="connsiteY32" fmla="*/ 15738 h 69383"/>
                <a:gd name="connsiteX33" fmla="*/ 277249 w 285865"/>
                <a:gd name="connsiteY33" fmla="*/ 10218 h 69383"/>
                <a:gd name="connsiteX34" fmla="*/ 285759 w 285865"/>
                <a:gd name="connsiteY34" fmla="*/ -462 h 69383"/>
                <a:gd name="connsiteX35" fmla="*/ 274016 w 285865"/>
                <a:gd name="connsiteY35" fmla="*/ 6686 h 69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85865" h="69383">
                  <a:moveTo>
                    <a:pt x="273902" y="6824"/>
                  </a:moveTo>
                  <a:lnTo>
                    <a:pt x="267832" y="10715"/>
                  </a:lnTo>
                  <a:lnTo>
                    <a:pt x="260429" y="14607"/>
                  </a:lnTo>
                  <a:cubicBezTo>
                    <a:pt x="254757" y="17795"/>
                    <a:pt x="248915" y="20688"/>
                    <a:pt x="242927" y="23273"/>
                  </a:cubicBezTo>
                  <a:cubicBezTo>
                    <a:pt x="239665" y="24735"/>
                    <a:pt x="236261" y="26281"/>
                    <a:pt x="232744" y="27826"/>
                  </a:cubicBezTo>
                  <a:lnTo>
                    <a:pt x="221540" y="31856"/>
                  </a:lnTo>
                  <a:cubicBezTo>
                    <a:pt x="214080" y="35030"/>
                    <a:pt x="205457" y="36383"/>
                    <a:pt x="197174" y="39115"/>
                  </a:cubicBezTo>
                  <a:cubicBezTo>
                    <a:pt x="188494" y="40715"/>
                    <a:pt x="179673" y="42758"/>
                    <a:pt x="170511" y="43558"/>
                  </a:cubicBezTo>
                  <a:cubicBezTo>
                    <a:pt x="161305" y="44754"/>
                    <a:pt x="152028" y="45353"/>
                    <a:pt x="142741" y="45352"/>
                  </a:cubicBezTo>
                  <a:cubicBezTo>
                    <a:pt x="133473" y="45339"/>
                    <a:pt x="124216" y="44739"/>
                    <a:pt x="115028" y="43558"/>
                  </a:cubicBezTo>
                  <a:cubicBezTo>
                    <a:pt x="105838" y="42702"/>
                    <a:pt x="97044" y="40798"/>
                    <a:pt x="88336" y="39087"/>
                  </a:cubicBezTo>
                  <a:cubicBezTo>
                    <a:pt x="80025" y="36327"/>
                    <a:pt x="71317" y="34974"/>
                    <a:pt x="63970" y="31829"/>
                  </a:cubicBezTo>
                  <a:lnTo>
                    <a:pt x="52794" y="27799"/>
                  </a:lnTo>
                  <a:cubicBezTo>
                    <a:pt x="49277" y="26254"/>
                    <a:pt x="45873" y="24708"/>
                    <a:pt x="42611" y="23245"/>
                  </a:cubicBezTo>
                  <a:cubicBezTo>
                    <a:pt x="36565" y="20638"/>
                    <a:pt x="30666" y="17718"/>
                    <a:pt x="24940" y="14497"/>
                  </a:cubicBezTo>
                  <a:cubicBezTo>
                    <a:pt x="20323" y="12208"/>
                    <a:pt x="15861" y="9636"/>
                    <a:pt x="11580" y="6797"/>
                  </a:cubicBezTo>
                  <a:cubicBezTo>
                    <a:pt x="4318" y="2243"/>
                    <a:pt x="-107" y="-296"/>
                    <a:pt x="-107" y="-296"/>
                  </a:cubicBezTo>
                  <a:cubicBezTo>
                    <a:pt x="-107" y="-296"/>
                    <a:pt x="2730" y="3623"/>
                    <a:pt x="8403" y="10384"/>
                  </a:cubicBezTo>
                  <a:cubicBezTo>
                    <a:pt x="9793" y="12068"/>
                    <a:pt x="11409" y="13917"/>
                    <a:pt x="13083" y="15904"/>
                  </a:cubicBezTo>
                  <a:lnTo>
                    <a:pt x="19352" y="21755"/>
                  </a:lnTo>
                  <a:cubicBezTo>
                    <a:pt x="24246" y="26640"/>
                    <a:pt x="29602" y="31066"/>
                    <a:pt x="35350" y="34974"/>
                  </a:cubicBezTo>
                  <a:lnTo>
                    <a:pt x="45164" y="41902"/>
                  </a:lnTo>
                  <a:lnTo>
                    <a:pt x="56510" y="48029"/>
                  </a:lnTo>
                  <a:cubicBezTo>
                    <a:pt x="64772" y="52366"/>
                    <a:pt x="73375" y="56058"/>
                    <a:pt x="82238" y="59069"/>
                  </a:cubicBezTo>
                  <a:cubicBezTo>
                    <a:pt x="91814" y="62188"/>
                    <a:pt x="101632" y="64560"/>
                    <a:pt x="111596" y="66161"/>
                  </a:cubicBezTo>
                  <a:cubicBezTo>
                    <a:pt x="121924" y="67744"/>
                    <a:pt x="132346" y="68665"/>
                    <a:pt x="142798" y="68921"/>
                  </a:cubicBezTo>
                  <a:cubicBezTo>
                    <a:pt x="153249" y="68654"/>
                    <a:pt x="163671" y="67733"/>
                    <a:pt x="174000" y="66161"/>
                  </a:cubicBezTo>
                  <a:cubicBezTo>
                    <a:pt x="183952" y="64534"/>
                    <a:pt x="193758" y="62153"/>
                    <a:pt x="203330" y="59041"/>
                  </a:cubicBezTo>
                  <a:cubicBezTo>
                    <a:pt x="212190" y="56024"/>
                    <a:pt x="220793" y="52333"/>
                    <a:pt x="229057" y="48001"/>
                  </a:cubicBezTo>
                  <a:lnTo>
                    <a:pt x="240402" y="41847"/>
                  </a:lnTo>
                  <a:lnTo>
                    <a:pt x="250217" y="34947"/>
                  </a:lnTo>
                  <a:cubicBezTo>
                    <a:pt x="256003" y="31002"/>
                    <a:pt x="261405" y="26549"/>
                    <a:pt x="266357" y="21645"/>
                  </a:cubicBezTo>
                  <a:cubicBezTo>
                    <a:pt x="268626" y="19547"/>
                    <a:pt x="270697" y="17588"/>
                    <a:pt x="272625" y="15738"/>
                  </a:cubicBezTo>
                  <a:lnTo>
                    <a:pt x="277249" y="10218"/>
                  </a:lnTo>
                  <a:cubicBezTo>
                    <a:pt x="282752" y="3540"/>
                    <a:pt x="285759" y="-462"/>
                    <a:pt x="285759" y="-462"/>
                  </a:cubicBezTo>
                  <a:cubicBezTo>
                    <a:pt x="285759" y="-462"/>
                    <a:pt x="281362" y="2049"/>
                    <a:pt x="274016" y="6686"/>
                  </a:cubicBezTo>
                </a:path>
              </a:pathLst>
            </a:custGeom>
            <a:solidFill>
              <a:srgbClr val="00B9EF"/>
            </a:solidFill>
            <a:ln w="283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 sz="1600" dirty="0"/>
            </a:p>
          </p:txBody>
        </p:sp>
      </p:grpSp>
      <p:sp>
        <p:nvSpPr>
          <p:cNvPr id="23" name="コンテンツ プレースホルダー 2">
            <a:extLst>
              <a:ext uri="{FF2B5EF4-FFF2-40B4-BE49-F238E27FC236}">
                <a16:creationId xmlns:a16="http://schemas.microsoft.com/office/drawing/2014/main" id="{3012B480-B71D-8648-9C18-901C053E9A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4918" y="1196976"/>
            <a:ext cx="10562165" cy="72344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Clr>
                <a:srgbClr val="AF413C"/>
              </a:buClr>
              <a:buSzPct val="80000"/>
              <a:buFont typeface="Wingdings" panose="05000000000000000000" pitchFamily="2" charset="2"/>
              <a:buChar char="l"/>
              <a:defRPr sz="1800">
                <a:latin typeface="Meiryo UI" panose="020B0604030504040204" pitchFamily="34" charset="-128"/>
                <a:ea typeface="Meiryo UI" panose="020B0604030504040204" pitchFamily="34" charset="-128"/>
              </a:defRPr>
            </a:lvl1pPr>
            <a:lvl2pPr marL="685800" indent="-228600">
              <a:lnSpc>
                <a:spcPct val="100000"/>
              </a:lnSpc>
              <a:buClr>
                <a:srgbClr val="AF413C"/>
              </a:buClr>
              <a:buSzPct val="80000"/>
              <a:buFont typeface="Meiryo UI" panose="020B0604030504040204" pitchFamily="50" charset="-128"/>
              <a:buChar char="⁃"/>
              <a:defRPr sz="1600">
                <a:latin typeface="Meiryo UI" panose="020B0604030504040204" pitchFamily="34" charset="-128"/>
                <a:ea typeface="Meiryo UI" panose="020B0604030504040204" pitchFamily="34" charset="-128"/>
              </a:defRPr>
            </a:lvl2pPr>
            <a:lvl3pPr>
              <a:lnSpc>
                <a:spcPct val="100000"/>
              </a:lnSpc>
              <a:defRPr sz="1400">
                <a:latin typeface="Meiryo UI" panose="020B0604030504040204" pitchFamily="34" charset="-128"/>
                <a:ea typeface="Meiryo UI" panose="020B0604030504040204" pitchFamily="34" charset="-128"/>
              </a:defRPr>
            </a:lvl3pPr>
            <a:lvl4pPr>
              <a:lnSpc>
                <a:spcPct val="100000"/>
              </a:lnSpc>
              <a:defRPr sz="1200">
                <a:latin typeface="Meiryo UI" panose="020B0604030504040204" pitchFamily="34" charset="-128"/>
                <a:ea typeface="Meiryo UI" panose="020B0604030504040204" pitchFamily="34" charset="-128"/>
              </a:defRPr>
            </a:lvl4pPr>
            <a:lvl5pPr>
              <a:lnSpc>
                <a:spcPct val="100000"/>
              </a:lnSpc>
              <a:defRPr sz="1200">
                <a:latin typeface="Meiryo UI" panose="020B0604030504040204" pitchFamily="34" charset="-128"/>
                <a:ea typeface="Meiryo UI" panose="020B0604030504040204" pitchFamily="34" charset="-128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3594664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7986732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1549799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507104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237844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0963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766738" y="273742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09631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86" indent="0">
              <a:buNone/>
              <a:defRPr sz="1200"/>
            </a:lvl2pPr>
            <a:lvl3pPr marL="913581" indent="0">
              <a:buNone/>
              <a:defRPr sz="1000"/>
            </a:lvl3pPr>
            <a:lvl4pPr marL="1370367" indent="0">
              <a:buNone/>
              <a:defRPr sz="900"/>
            </a:lvl4pPr>
            <a:lvl5pPr marL="1827153" indent="0">
              <a:buNone/>
              <a:defRPr sz="900"/>
            </a:lvl5pPr>
            <a:lvl6pPr marL="2283942" indent="0">
              <a:buNone/>
              <a:defRPr sz="900"/>
            </a:lvl6pPr>
            <a:lvl7pPr marL="2740733" indent="0">
              <a:buNone/>
              <a:defRPr sz="900"/>
            </a:lvl7pPr>
            <a:lvl8pPr marL="3197520" indent="0">
              <a:buNone/>
              <a:defRPr sz="900"/>
            </a:lvl8pPr>
            <a:lvl9pPr marL="3654306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DBB34A-9D0A-4010-BB3F-33A6BEFF7592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89625963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1271100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18332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644877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015427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dirty="0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264353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720735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553337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786" indent="0">
              <a:buNone/>
              <a:defRPr sz="2800"/>
            </a:lvl2pPr>
            <a:lvl3pPr marL="913581" indent="0">
              <a:buNone/>
              <a:defRPr sz="2400"/>
            </a:lvl3pPr>
            <a:lvl4pPr marL="1370367" indent="0">
              <a:buNone/>
              <a:defRPr sz="2000"/>
            </a:lvl4pPr>
            <a:lvl5pPr marL="1827153" indent="0">
              <a:buNone/>
              <a:defRPr sz="2000"/>
            </a:lvl5pPr>
            <a:lvl6pPr marL="2283942" indent="0">
              <a:buNone/>
              <a:defRPr sz="2000"/>
            </a:lvl6pPr>
            <a:lvl7pPr marL="2740733" indent="0">
              <a:buNone/>
              <a:defRPr sz="2000"/>
            </a:lvl7pPr>
            <a:lvl8pPr marL="3197520" indent="0">
              <a:buNone/>
              <a:defRPr sz="2000"/>
            </a:lvl8pPr>
            <a:lvl9pPr marL="3654306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786" indent="0">
              <a:buNone/>
              <a:defRPr sz="1200"/>
            </a:lvl2pPr>
            <a:lvl3pPr marL="913581" indent="0">
              <a:buNone/>
              <a:defRPr sz="1000"/>
            </a:lvl3pPr>
            <a:lvl4pPr marL="1370367" indent="0">
              <a:buNone/>
              <a:defRPr sz="900"/>
            </a:lvl4pPr>
            <a:lvl5pPr marL="1827153" indent="0">
              <a:buNone/>
              <a:defRPr sz="900"/>
            </a:lvl5pPr>
            <a:lvl6pPr marL="2283942" indent="0">
              <a:buNone/>
              <a:defRPr sz="900"/>
            </a:lvl6pPr>
            <a:lvl7pPr marL="2740733" indent="0">
              <a:buNone/>
              <a:defRPr sz="900"/>
            </a:lvl7pPr>
            <a:lvl8pPr marL="3197520" indent="0">
              <a:buNone/>
              <a:defRPr sz="900"/>
            </a:lvl8pPr>
            <a:lvl9pPr marL="3654306" indent="0">
              <a:buNone/>
              <a:defRPr sz="9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D53C32-9FCA-45D8-824F-E3D439F7E07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4156215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2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3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4.bin"/><Relationship Id="rId5" Type="http://schemas.openxmlformats.org/officeDocument/2006/relationships/tags" Target="../tags/tag4.xml"/><Relationship Id="rId4" Type="http://schemas.openxmlformats.org/officeDocument/2006/relationships/vmlDrawing" Target="../drawings/vmlDrawing4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5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5032C"/>
            </a:gs>
            <a:gs pos="100000">
              <a:srgbClr val="11088A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5" rIns="91359" bIns="4567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5" rIns="91359" bIns="4567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5" rIns="91359" bIns="45675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5" rIns="91359" bIns="45675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5" rIns="91359" bIns="45675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EF778B09-9B6F-4351-ACDE-5C280569130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07" r:id="rId1"/>
    <p:sldLayoutId id="2147485808" r:id="rId2"/>
    <p:sldLayoutId id="2147485809" r:id="rId3"/>
    <p:sldLayoutId id="2147485810" r:id="rId4"/>
    <p:sldLayoutId id="2147485811" r:id="rId5"/>
    <p:sldLayoutId id="2147485812" r:id="rId6"/>
    <p:sldLayoutId id="2147485813" r:id="rId7"/>
    <p:sldLayoutId id="2147485814" r:id="rId8"/>
    <p:sldLayoutId id="2147485815" r:id="rId9"/>
    <p:sldLayoutId id="2147485816" r:id="rId10"/>
    <p:sldLayoutId id="2147485817" r:id="rId11"/>
    <p:sldLayoutId id="2147485818" r:id="rId12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" charset="0"/>
          <a:ea typeface="Osaka" pitchFamily="32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" charset="0"/>
          <a:ea typeface="Osaka" pitchFamily="32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" charset="0"/>
          <a:ea typeface="Osaka" pitchFamily="32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" charset="0"/>
          <a:ea typeface="Osaka" pitchFamily="32" charset="-128"/>
        </a:defRPr>
      </a:lvl5pPr>
      <a:lvl6pPr marL="456786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" charset="0"/>
          <a:ea typeface="Osaka" pitchFamily="32" charset="-128"/>
        </a:defRPr>
      </a:lvl6pPr>
      <a:lvl7pPr marL="913581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" charset="0"/>
          <a:ea typeface="Osaka" pitchFamily="32" charset="-128"/>
        </a:defRPr>
      </a:lvl7pPr>
      <a:lvl8pPr marL="1370367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" charset="0"/>
          <a:ea typeface="Osaka" pitchFamily="32" charset="-128"/>
        </a:defRPr>
      </a:lvl8pPr>
      <a:lvl9pPr marL="1827153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" charset="0"/>
          <a:ea typeface="Osaka" pitchFamily="32" charset="-128"/>
        </a:defRPr>
      </a:lvl9pPr>
    </p:titleStyle>
    <p:bodyStyle>
      <a:lvl1pPr marL="342594" indent="-342594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283" indent="-285489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1973" indent="-228393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8760" indent="-228393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5546" indent="-228393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2341" indent="-228393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69127" indent="-228393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5913" indent="-228393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2703" indent="-228393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3581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86" algn="l" defTabSz="913581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81" algn="l" defTabSz="913581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67" algn="l" defTabSz="913581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153" algn="l" defTabSz="913581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942" algn="l" defTabSz="913581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733" algn="l" defTabSz="913581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520" algn="l" defTabSz="913581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306" algn="l" defTabSz="913581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8A91F58C-A27C-49D8-9128-1724FFD688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778D80BB-5516-4777-8E89-E4D4253F29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8DF32ECB-6E59-4BAA-95EA-F415D91E78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97EB51A-E9FC-4BDA-8A3D-33DCEABA1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8588CA2-D5CE-4498-BE05-04F3727A3D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631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457" r:id="rId1"/>
    <p:sldLayoutId id="2147490458" r:id="rId2"/>
    <p:sldLayoutId id="2147490459" r:id="rId3"/>
    <p:sldLayoutId id="2147490460" r:id="rId4"/>
    <p:sldLayoutId id="2147490461" r:id="rId5"/>
    <p:sldLayoutId id="2147490462" r:id="rId6"/>
    <p:sldLayoutId id="2147490463" r:id="rId7"/>
    <p:sldLayoutId id="2147490464" r:id="rId8"/>
    <p:sldLayoutId id="2147490465" r:id="rId9"/>
    <p:sldLayoutId id="2147490466" r:id="rId10"/>
    <p:sldLayoutId id="214749046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42598498-9F76-5040-976B-6A49E74D2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1177CACD-B244-CD48-AEA1-8E912736CF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2CCE0DA-0D45-874B-8681-DCD7393501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90EBE-8CAC-0244-92D0-BF8A4805E17B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9AE86E3-C012-7947-B8E8-DBC38E5DBE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2643C20-E4ED-5342-AD89-9DAB353A82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AC3028-3698-3044-9D65-4BE6037418D0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77542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566" r:id="rId1"/>
    <p:sldLayoutId id="2147490567" r:id="rId2"/>
    <p:sldLayoutId id="2147490568" r:id="rId3"/>
    <p:sldLayoutId id="2147490569" r:id="rId4"/>
    <p:sldLayoutId id="2147490570" r:id="rId5"/>
    <p:sldLayoutId id="2147490571" r:id="rId6"/>
    <p:sldLayoutId id="2147490572" r:id="rId7"/>
    <p:sldLayoutId id="2147490573" r:id="rId8"/>
    <p:sldLayoutId id="2147490574" r:id="rId9"/>
    <p:sldLayoutId id="2147490575" r:id="rId10"/>
    <p:sldLayoutId id="2147490576" r:id="rId11"/>
    <p:sldLayoutId id="214749057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6D98B4-039F-43C6-BB0C-0C78BA95A043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DB789D-FB95-4D37-A525-7E32146AD07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68896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591" r:id="rId1"/>
    <p:sldLayoutId id="2147490592" r:id="rId2"/>
    <p:sldLayoutId id="2147490593" r:id="rId3"/>
    <p:sldLayoutId id="2147490594" r:id="rId4"/>
    <p:sldLayoutId id="2147490595" r:id="rId5"/>
    <p:sldLayoutId id="2147490596" r:id="rId6"/>
    <p:sldLayoutId id="2147490597" r:id="rId7"/>
    <p:sldLayoutId id="2147490598" r:id="rId8"/>
    <p:sldLayoutId id="2147490599" r:id="rId9"/>
    <p:sldLayoutId id="2147490600" r:id="rId10"/>
    <p:sldLayoutId id="21474906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White"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38766241"/>
              </p:ext>
            </p:extLst>
          </p:nvPr>
        </p:nvGraphicFramePr>
        <p:xfrm>
          <a:off x="2121" y="201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201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121920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タイトルの書式設定</a:t>
            </a:r>
          </a:p>
        </p:txBody>
      </p:sp>
      <p:sp>
        <p:nvSpPr>
          <p:cNvPr id="1229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1" y="1196984"/>
            <a:ext cx="10972800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834071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81" r:id="rId1"/>
    <p:sldLayoutId id="2147489383" r:id="rId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rgbClr val="FFFF00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8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 sz="24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0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White"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283620"/>
              </p:ext>
            </p:extLst>
          </p:nvPr>
        </p:nvGraphicFramePr>
        <p:xfrm>
          <a:off x="2121" y="19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9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121920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タイトルの書式設定</a:t>
            </a:r>
          </a:p>
        </p:txBody>
      </p:sp>
      <p:sp>
        <p:nvSpPr>
          <p:cNvPr id="1229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1" y="1196975"/>
            <a:ext cx="10972800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89838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85" r:id="rId1"/>
    <p:sldLayoutId id="2147489387" r:id="rId2"/>
    <p:sldLayoutId id="2147489388" r:id="rId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rgbClr val="FFFF00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8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 sz="24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0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White"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04510087"/>
              </p:ext>
            </p:extLst>
          </p:nvPr>
        </p:nvGraphicFramePr>
        <p:xfrm>
          <a:off x="2121" y="19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99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121920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タイトルの書式設定</a:t>
            </a:r>
          </a:p>
        </p:txBody>
      </p:sp>
      <p:sp>
        <p:nvSpPr>
          <p:cNvPr id="1229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1" y="1196984"/>
            <a:ext cx="10972800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632028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402" r:id="rId1"/>
    <p:sldLayoutId id="2147489404" r:id="rId2"/>
    <p:sldLayoutId id="2147489405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rgbClr val="FFFF00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8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 sz="24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0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White"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38766241"/>
              </p:ext>
            </p:extLst>
          </p:nvPr>
        </p:nvGraphicFramePr>
        <p:xfrm>
          <a:off x="2121" y="19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9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121920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タイトルの書式設定</a:t>
            </a:r>
          </a:p>
        </p:txBody>
      </p:sp>
      <p:sp>
        <p:nvSpPr>
          <p:cNvPr id="1229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1" y="1196984"/>
            <a:ext cx="10972800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834071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456" r:id="rId1"/>
    <p:sldLayoutId id="2147489458" r:id="rId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rgbClr val="FFFF00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8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 sz="24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0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White"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283620"/>
              </p:ext>
            </p:extLst>
          </p:nvPr>
        </p:nvGraphicFramePr>
        <p:xfrm>
          <a:off x="2121" y="191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915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121920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タイトルの書式設定</a:t>
            </a:r>
          </a:p>
        </p:txBody>
      </p:sp>
      <p:sp>
        <p:nvSpPr>
          <p:cNvPr id="1229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1" y="1196975"/>
            <a:ext cx="10972800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89838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460" r:id="rId1"/>
    <p:sldLayoutId id="2147489462" r:id="rId2"/>
    <p:sldLayoutId id="2147489463" r:id="rId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2800" b="1">
          <a:solidFill>
            <a:srgbClr val="FFFF00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2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8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 sz="24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000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bg1"/>
          </a:solidFill>
          <a:latin typeface="Verdana" panose="020B0604030504040204" pitchFamily="34" charset="0"/>
          <a:ea typeface="メイリオ" panose="020B0604030504040204" pitchFamily="50" charset="-128"/>
          <a:cs typeface="Verdana" panose="020B0604030504040204" pitchFamily="34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34"/>
            <a:ext cx="10515600" cy="1325563"/>
          </a:xfrm>
          <a:prstGeom prst="rect">
            <a:avLst/>
          </a:prstGeom>
        </p:spPr>
        <p:txBody>
          <a:bodyPr vert="horz" lIns="91262" tIns="45633" rIns="91262" bIns="45633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262" tIns="45633" rIns="91262" bIns="45633" rtlCol="0">
            <a:normAutofit/>
          </a:bodyPr>
          <a:lstStyle/>
          <a:p>
            <a:pPr lvl="0"/>
            <a:r>
              <a:rPr lang="ja-JP" altLang="en-US"/>
              <a:t>マスター テキストの書式設定
第 </a:t>
            </a:r>
            <a:r>
              <a:rPr lang="en-US" altLang="ja-JP"/>
              <a:t>2 </a:t>
            </a:r>
            <a:r>
              <a:rPr lang="ja-JP" altLang="en-US"/>
              <a:t>レベル
第 </a:t>
            </a:r>
            <a:r>
              <a:rPr lang="en-US" altLang="ja-JP"/>
              <a:t>3 </a:t>
            </a:r>
            <a:r>
              <a:rPr lang="ja-JP" altLang="en-US"/>
              <a:t>レベル
第 </a:t>
            </a:r>
            <a:r>
              <a:rPr lang="en-US" altLang="ja-JP"/>
              <a:t>4 </a:t>
            </a:r>
            <a:r>
              <a:rPr lang="ja-JP" altLang="en-US"/>
              <a:t>レベル
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4" y="6356376"/>
            <a:ext cx="2743200" cy="365125"/>
          </a:xfrm>
          <a:prstGeom prst="rect">
            <a:avLst/>
          </a:prstGeom>
        </p:spPr>
        <p:txBody>
          <a:bodyPr vert="horz" lIns="91262" tIns="45633" rIns="91262" bIns="45633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FFC9F4-616D-0846-9B55-0C18E2120AA0}" type="datetimeFigureOut">
              <a:rPr kumimoji="1" lang="ja-JP" altLang="en-US" smtClean="0"/>
              <a:t>2023/8/23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4" y="6356376"/>
            <a:ext cx="4114800" cy="365125"/>
          </a:xfrm>
          <a:prstGeom prst="rect">
            <a:avLst/>
          </a:prstGeom>
        </p:spPr>
        <p:txBody>
          <a:bodyPr vert="horz" lIns="91262" tIns="45633" rIns="91262" bIns="45633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3" y="6356376"/>
            <a:ext cx="2743200" cy="365125"/>
          </a:xfrm>
          <a:prstGeom prst="rect">
            <a:avLst/>
          </a:prstGeom>
        </p:spPr>
        <p:txBody>
          <a:bodyPr vert="horz" lIns="91262" tIns="45633" rIns="91262" bIns="45633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D6FADB-063E-8A43-B481-44D7201E53D9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9881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825" r:id="rId1"/>
    <p:sldLayoutId id="2147489826" r:id="rId2"/>
    <p:sldLayoutId id="2147489827" r:id="rId3"/>
    <p:sldLayoutId id="2147489828" r:id="rId4"/>
    <p:sldLayoutId id="2147489829" r:id="rId5"/>
    <p:sldLayoutId id="2147489830" r:id="rId6"/>
    <p:sldLayoutId id="2147489831" r:id="rId7"/>
    <p:sldLayoutId id="2147489832" r:id="rId8"/>
    <p:sldLayoutId id="2147489833" r:id="rId9"/>
    <p:sldLayoutId id="2147489834" r:id="rId10"/>
    <p:sldLayoutId id="2147489835" r:id="rId11"/>
  </p:sldLayoutIdLst>
  <p:txStyles>
    <p:titleStyle>
      <a:lvl1pPr algn="l" defTabSz="912695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174" indent="-228174" algn="l" defTabSz="91269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4522" indent="-228174" algn="l" defTabSz="9126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71" indent="-228174" algn="l" defTabSz="9126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214" indent="-228174" algn="l" defTabSz="9126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565" indent="-228174" algn="l" defTabSz="9126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9912" indent="-228174" algn="l" defTabSz="9126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261" indent="-228174" algn="l" defTabSz="9126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608" indent="-228174" algn="l" defTabSz="9126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955" indent="-228174" algn="l" defTabSz="9126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6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47" algn="l" defTabSz="9126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695" algn="l" defTabSz="9126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44" algn="l" defTabSz="9126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391" algn="l" defTabSz="9126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39" algn="l" defTabSz="9126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086" algn="l" defTabSz="9126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26" algn="l" defTabSz="9126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779" algn="l" defTabSz="9126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000232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0305" r:id="rId1"/>
    <p:sldLayoutId id="2147490306" r:id="rId2"/>
    <p:sldLayoutId id="2147490307" r:id="rId3"/>
    <p:sldLayoutId id="2147490308" r:id="rId4"/>
    <p:sldLayoutId id="2147490309" r:id="rId5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0000B4"/>
            </a:gs>
            <a:gs pos="27000">
              <a:srgbClr val="000026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330" tIns="45667" rIns="91330" bIns="45667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330" tIns="45667" rIns="91330" bIns="45667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09600" y="6356362"/>
            <a:ext cx="2844800" cy="365125"/>
          </a:xfrm>
          <a:prstGeom prst="rect">
            <a:avLst/>
          </a:prstGeom>
        </p:spPr>
        <p:txBody>
          <a:bodyPr vert="horz" lIns="91330" tIns="45667" rIns="91330" bIns="4566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358"/>
            <a:fld id="{A63C1044-2C77-4BB6-BC86-9C1DC4648745}" type="datetimeFigureOut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 defTabSz="913358"/>
              <a:t>2023/8/23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4165600" y="6356362"/>
            <a:ext cx="3860800" cy="365125"/>
          </a:xfrm>
          <a:prstGeom prst="rect">
            <a:avLst/>
          </a:prstGeom>
        </p:spPr>
        <p:txBody>
          <a:bodyPr vert="horz" lIns="91330" tIns="45667" rIns="91330" bIns="4566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358"/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8737600" y="6356362"/>
            <a:ext cx="2844800" cy="365125"/>
          </a:xfrm>
          <a:prstGeom prst="rect">
            <a:avLst/>
          </a:prstGeom>
        </p:spPr>
        <p:txBody>
          <a:bodyPr vert="horz" lIns="91330" tIns="45667" rIns="91330" bIns="4566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358"/>
            <a:fld id="{62F33136-CB7F-442D-A0CB-C81A31F45309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 defTabSz="913358"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994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433" r:id="rId1"/>
    <p:sldLayoutId id="2147490434" r:id="rId2"/>
    <p:sldLayoutId id="2147490435" r:id="rId3"/>
    <p:sldLayoutId id="2147490436" r:id="rId4"/>
    <p:sldLayoutId id="2147490437" r:id="rId5"/>
    <p:sldLayoutId id="2147490438" r:id="rId6"/>
    <p:sldLayoutId id="2147490439" r:id="rId7"/>
    <p:sldLayoutId id="2147490440" r:id="rId8"/>
    <p:sldLayoutId id="2147490441" r:id="rId9"/>
    <p:sldLayoutId id="2147490442" r:id="rId10"/>
    <p:sldLayoutId id="2147490443" r:id="rId11"/>
  </p:sldLayoutIdLst>
  <p:txStyles>
    <p:titleStyle>
      <a:lvl1pPr algn="ctr" defTabSz="913358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509" indent="-342509" algn="l" defTabSz="913358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103" indent="-285424" algn="l" defTabSz="913358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699" indent="-228340" algn="l" defTabSz="913358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376" indent="-228340" algn="l" defTabSz="913358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056" indent="-228340" algn="l" defTabSz="913358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735" indent="-228340" algn="l" defTabSz="913358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414" indent="-228340" algn="l" defTabSz="913358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093" indent="-228340" algn="l" defTabSz="913358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771" indent="-228340" algn="l" defTabSz="913358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335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78" algn="l" defTabSz="91335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58" algn="l" defTabSz="91335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38" algn="l" defTabSz="91335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15" algn="l" defTabSz="91335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396" algn="l" defTabSz="91335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074" algn="l" defTabSz="91335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748" algn="l" defTabSz="91335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431" algn="l" defTabSz="91335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chart" Target="../charts/chart2.xml"/><Relationship Id="rId7" Type="http://schemas.openxmlformats.org/officeDocument/2006/relationships/image" Target="../media/image10.png"/><Relationship Id="rId12" Type="http://schemas.openxmlformats.org/officeDocument/2006/relationships/chart" Target="../charts/chart4.xml"/><Relationship Id="rId17" Type="http://schemas.openxmlformats.org/officeDocument/2006/relationships/image" Target="../media/image18.png"/><Relationship Id="rId2" Type="http://schemas.openxmlformats.org/officeDocument/2006/relationships/chart" Target="../charts/chart1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9.png"/><Relationship Id="rId11" Type="http://schemas.openxmlformats.org/officeDocument/2006/relationships/chart" Target="../charts/chart3.xml"/><Relationship Id="rId5" Type="http://schemas.openxmlformats.org/officeDocument/2006/relationships/image" Target="../media/image8.png"/><Relationship Id="rId15" Type="http://schemas.openxmlformats.org/officeDocument/2006/relationships/image" Target="../media/image16.png"/><Relationship Id="rId10" Type="http://schemas.openxmlformats.org/officeDocument/2006/relationships/image" Target="../media/image13.png"/><Relationship Id="rId19" Type="http://schemas.openxmlformats.org/officeDocument/2006/relationships/chart" Target="../charts/chart5.xml"/><Relationship Id="rId4" Type="http://schemas.openxmlformats.org/officeDocument/2006/relationships/image" Target="../media/image7.jpg"/><Relationship Id="rId9" Type="http://schemas.openxmlformats.org/officeDocument/2006/relationships/image" Target="../media/image12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2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ext Box 2"/>
          <p:cNvSpPr txBox="1">
            <a:spLocks noChangeArrowheads="1"/>
          </p:cNvSpPr>
          <p:nvPr/>
        </p:nvSpPr>
        <p:spPr bwMode="auto">
          <a:xfrm>
            <a:off x="947935" y="3000119"/>
            <a:ext cx="10332641" cy="617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359" tIns="45675" rIns="91359" bIns="45675" anchor="ctr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9pPr>
          </a:lstStyle>
          <a:p>
            <a:pPr algn="ctr" eaLnBrk="1" hangingPunct="1">
              <a:lnSpc>
                <a:spcPts val="4000"/>
              </a:lnSpc>
              <a:spcBef>
                <a:spcPct val="50000"/>
              </a:spcBef>
            </a:pPr>
            <a:r>
              <a:rPr lang="en-US" altLang="ja-JP" sz="4800" b="1" dirty="0" smtClean="0">
                <a:solidFill>
                  <a:srgbClr val="FFFF00"/>
                </a:solidFill>
                <a:latin typeface="Helvetica" pitchFamily="34" charset="0"/>
                <a:ea typeface="ＭＳ Ｐゴシック" pitchFamily="50" charset="-128"/>
              </a:rPr>
              <a:t>International CMD Registry</a:t>
            </a:r>
          </a:p>
        </p:txBody>
      </p:sp>
      <p:sp>
        <p:nvSpPr>
          <p:cNvPr id="50179" name="Text Box 4"/>
          <p:cNvSpPr txBox="1">
            <a:spLocks noChangeArrowheads="1"/>
          </p:cNvSpPr>
          <p:nvPr/>
        </p:nvSpPr>
        <p:spPr bwMode="auto">
          <a:xfrm>
            <a:off x="2135560" y="4581128"/>
            <a:ext cx="8103863" cy="1826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359" tIns="45675" rIns="91359" bIns="45675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" charset="0"/>
                <a:ea typeface="Osaka" pitchFamily="32" charset="-128"/>
              </a:defRPr>
            </a:lvl9pPr>
          </a:lstStyle>
          <a:p>
            <a:pPr algn="ctr" eaLnBrk="1" hangingPunct="1">
              <a:lnSpc>
                <a:spcPts val="2000"/>
              </a:lnSpc>
              <a:spcBef>
                <a:spcPct val="50000"/>
              </a:spcBef>
            </a:pPr>
            <a:r>
              <a:rPr lang="en-US" altLang="ja-JP" sz="2800" b="1" dirty="0" smtClean="0">
                <a:solidFill>
                  <a:schemeClr val="bg1"/>
                </a:solidFill>
                <a:latin typeface="Helvetica" pitchFamily="34" charset="0"/>
                <a:ea typeface="ＭＳ Ｐゴシック" pitchFamily="50" charset="-128"/>
              </a:rPr>
              <a:t>International University of Health and Welfare</a:t>
            </a:r>
          </a:p>
          <a:p>
            <a:pPr algn="ctr" eaLnBrk="1" hangingPunct="1">
              <a:lnSpc>
                <a:spcPts val="2000"/>
              </a:lnSpc>
              <a:spcBef>
                <a:spcPct val="50000"/>
              </a:spcBef>
            </a:pPr>
            <a:r>
              <a:rPr lang="en-US" altLang="ja-JP" sz="2800" b="1" dirty="0" smtClean="0">
                <a:solidFill>
                  <a:schemeClr val="bg1"/>
                </a:solidFill>
                <a:latin typeface="Helvetica" pitchFamily="34" charset="0"/>
                <a:ea typeface="ＭＳ Ｐゴシック" pitchFamily="50" charset="-128"/>
              </a:rPr>
              <a:t>Tohoku University</a:t>
            </a:r>
          </a:p>
          <a:p>
            <a:pPr algn="ctr" eaLnBrk="1" hangingPunct="1">
              <a:lnSpc>
                <a:spcPts val="2000"/>
              </a:lnSpc>
              <a:spcBef>
                <a:spcPct val="50000"/>
              </a:spcBef>
            </a:pPr>
            <a:endParaRPr lang="en-US" altLang="ja-JP" sz="2800" b="1" dirty="0">
              <a:solidFill>
                <a:schemeClr val="bg1"/>
              </a:solidFill>
              <a:latin typeface="Helvetica" pitchFamily="34" charset="0"/>
              <a:ea typeface="ＭＳ Ｐゴシック" pitchFamily="50" charset="-128"/>
            </a:endParaRPr>
          </a:p>
          <a:p>
            <a:pPr algn="ctr" eaLnBrk="1" hangingPunct="1">
              <a:lnSpc>
                <a:spcPts val="2000"/>
              </a:lnSpc>
              <a:spcBef>
                <a:spcPct val="50000"/>
              </a:spcBef>
            </a:pPr>
            <a:r>
              <a:rPr lang="en-US" altLang="ja-JP" sz="3600" b="1" dirty="0" smtClean="0">
                <a:solidFill>
                  <a:schemeClr val="bg1"/>
                </a:solidFill>
                <a:latin typeface="Helvetica" pitchFamily="34" charset="0"/>
                <a:ea typeface="ＭＳ Ｐゴシック" pitchFamily="50" charset="-128"/>
              </a:rPr>
              <a:t>Hiroaki Shimokawa, MD, PhD.</a:t>
            </a:r>
            <a:r>
              <a:rPr lang="ja-JP" altLang="en-US" sz="3600" b="1" dirty="0" smtClean="0">
                <a:solidFill>
                  <a:schemeClr val="bg1"/>
                </a:solidFill>
                <a:latin typeface="Helvetica" pitchFamily="34" charset="0"/>
                <a:ea typeface="ＭＳ Ｐゴシック" pitchFamily="50" charset="-128"/>
              </a:rPr>
              <a:t>    </a:t>
            </a:r>
            <a:endParaRPr lang="ja-JP" altLang="en-US" sz="3600" b="1" dirty="0">
              <a:solidFill>
                <a:schemeClr val="bg1"/>
              </a:solidFill>
              <a:latin typeface="Helvetica" pitchFamily="34" charset="0"/>
              <a:ea typeface="ＭＳ Ｐゴシック" pitchFamily="50" charset="-128"/>
            </a:endParaRPr>
          </a:p>
        </p:txBody>
      </p:sp>
      <p:sp>
        <p:nvSpPr>
          <p:cNvPr id="50180" name="Rectangle 6"/>
          <p:cNvSpPr>
            <a:spLocks noChangeArrowheads="1"/>
          </p:cNvSpPr>
          <p:nvPr/>
        </p:nvSpPr>
        <p:spPr bwMode="auto">
          <a:xfrm>
            <a:off x="47328" y="206828"/>
            <a:ext cx="12000655" cy="989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359" tIns="45675" rIns="91359" bIns="45675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altLang="ja-JP" sz="2800" b="1" dirty="0" smtClean="0">
                <a:solidFill>
                  <a:srgbClr val="00FF00"/>
                </a:solidFill>
                <a:latin typeface="Arial" panose="020B0604020202020204" pitchFamily="34" charset="0"/>
                <a:ea typeface="Arial Unicode MS" pitchFamily="50" charset="-128"/>
                <a:cs typeface="Arial" panose="020B0604020202020204" pitchFamily="34" charset="0"/>
              </a:rPr>
              <a:t>11</a:t>
            </a:r>
            <a:r>
              <a:rPr lang="en-US" altLang="ja-JP" sz="2800" b="1" baseline="30000" dirty="0" smtClean="0">
                <a:solidFill>
                  <a:srgbClr val="00FF00"/>
                </a:solidFill>
                <a:latin typeface="Arial" panose="020B0604020202020204" pitchFamily="34" charset="0"/>
                <a:ea typeface="Arial Unicode MS" pitchFamily="50" charset="-128"/>
                <a:cs typeface="Arial" panose="020B0604020202020204" pitchFamily="34" charset="0"/>
              </a:rPr>
              <a:t>th</a:t>
            </a:r>
            <a:r>
              <a:rPr lang="en-US" altLang="ja-JP" sz="2800" b="1" dirty="0" smtClean="0">
                <a:solidFill>
                  <a:srgbClr val="00FF00"/>
                </a:solidFill>
                <a:latin typeface="Arial" panose="020B0604020202020204" pitchFamily="34" charset="0"/>
                <a:ea typeface="Arial Unicode MS" pitchFamily="50" charset="-128"/>
                <a:cs typeface="Arial" panose="020B0604020202020204" pitchFamily="34" charset="0"/>
              </a:rPr>
              <a:t> Annual COVADIS Summit  </a:t>
            </a:r>
          </a:p>
          <a:p>
            <a:pPr algn="ctr">
              <a:lnSpc>
                <a:spcPts val="3500"/>
              </a:lnSpc>
            </a:pPr>
            <a:r>
              <a:rPr lang="ja-JP" altLang="en-US" sz="2800" b="1" dirty="0" smtClean="0">
                <a:solidFill>
                  <a:srgbClr val="00FF00"/>
                </a:solidFill>
                <a:latin typeface="Arial" panose="020B0604020202020204" pitchFamily="34" charset="0"/>
                <a:ea typeface="Arial Unicode MS" pitchFamily="50" charset="-128"/>
                <a:cs typeface="Arial" panose="020B0604020202020204" pitchFamily="34" charset="0"/>
              </a:rPr>
              <a:t>（</a:t>
            </a:r>
            <a:r>
              <a:rPr lang="en-US" altLang="ja-JP" sz="2800" b="1" dirty="0" smtClean="0">
                <a:solidFill>
                  <a:srgbClr val="00FF00"/>
                </a:solidFill>
                <a:latin typeface="Arial" panose="020B0604020202020204" pitchFamily="34" charset="0"/>
                <a:ea typeface="Arial Unicode MS" pitchFamily="50" charset="-128"/>
                <a:cs typeface="Arial" panose="020B0604020202020204" pitchFamily="34" charset="0"/>
              </a:rPr>
              <a:t>August 29, 2023, Amsterdam, The Netherlands</a:t>
            </a:r>
            <a:r>
              <a:rPr lang="ja-JP" altLang="en-US" sz="2800" b="1" dirty="0" smtClean="0">
                <a:solidFill>
                  <a:srgbClr val="00FF00"/>
                </a:solidFill>
                <a:latin typeface="Arial" panose="020B0604020202020204" pitchFamily="34" charset="0"/>
                <a:ea typeface="Arial Unicode MS" pitchFamily="50" charset="-128"/>
                <a:cs typeface="Arial" panose="020B0604020202020204" pitchFamily="34" charset="0"/>
              </a:rPr>
              <a:t>）</a:t>
            </a:r>
            <a:endParaRPr lang="ja-JP" altLang="en-US" sz="2800" b="1" dirty="0">
              <a:solidFill>
                <a:srgbClr val="00FF00"/>
              </a:solidFill>
              <a:latin typeface="Arial" panose="020B0604020202020204" pitchFamily="34" charset="0"/>
              <a:ea typeface="Arial Unicode MS" pitchFamily="50" charset="-128"/>
              <a:cs typeface="Arial" panose="020B0604020202020204" pitchFamily="34" charset="0"/>
            </a:endParaRPr>
          </a:p>
        </p:txBody>
      </p:sp>
      <p:pic>
        <p:nvPicPr>
          <p:cNvPr id="8" name="Picture 12" descr="Toh_E_S_N_RGB(サイズS ネガ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4760" y="5612865"/>
            <a:ext cx="1291920" cy="1224000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C06CB425-FE85-4FAA-9EF3-74E3D70B41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9437" y="5625384"/>
            <a:ext cx="1268359" cy="1260000"/>
          </a:xfrm>
          <a:prstGeom prst="rect">
            <a:avLst/>
          </a:prstGeom>
        </p:spPr>
      </p:pic>
      <p:sp>
        <p:nvSpPr>
          <p:cNvPr id="2" name="テキスト ボックス 1"/>
          <p:cNvSpPr txBox="1"/>
          <p:nvPr/>
        </p:nvSpPr>
        <p:spPr>
          <a:xfrm>
            <a:off x="-528736" y="1393213"/>
            <a:ext cx="13354843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kumimoji="1" lang="en-US" altLang="ja-JP" sz="3000" b="1" dirty="0" smtClean="0">
                <a:solidFill>
                  <a:srgbClr val="FF9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sion 3  Networking in Coronary Vasomotor Disorder Research</a:t>
            </a:r>
            <a:endParaRPr kumimoji="1" lang="ja-JP" altLang="en-US" sz="3000" b="1" dirty="0">
              <a:solidFill>
                <a:srgbClr val="FF99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1656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直線コネクタ 3">
            <a:extLst>
              <a:ext uri="{FF2B5EF4-FFF2-40B4-BE49-F238E27FC236}">
                <a16:creationId xmlns:a16="http://schemas.microsoft.com/office/drawing/2014/main" id="{CA1FC7C1-F79A-F44B-AF89-6B8F2AC04771}"/>
              </a:ext>
            </a:extLst>
          </p:cNvPr>
          <p:cNvCxnSpPr/>
          <p:nvPr/>
        </p:nvCxnSpPr>
        <p:spPr>
          <a:xfrm>
            <a:off x="551384" y="1268760"/>
            <a:ext cx="1101600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440E1121-E454-FA4B-A6D3-2BEF54D1BFCD}"/>
              </a:ext>
            </a:extLst>
          </p:cNvPr>
          <p:cNvSpPr txBox="1"/>
          <p:nvPr/>
        </p:nvSpPr>
        <p:spPr>
          <a:xfrm>
            <a:off x="191344" y="58086"/>
            <a:ext cx="11580353" cy="1138666"/>
          </a:xfrm>
          <a:prstGeom prst="rect">
            <a:avLst/>
          </a:prstGeom>
          <a:noFill/>
        </p:spPr>
        <p:txBody>
          <a:bodyPr wrap="square" lIns="91330" tIns="45667" rIns="91330" bIns="45667" rtlCol="0">
            <a:spAutoFit/>
          </a:bodyPr>
          <a:lstStyle/>
          <a:p>
            <a:pPr marL="0" marR="0" lvl="0" indent="0" algn="ctr" defTabSz="913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International, Prospective Cohort Study on MVA </a:t>
            </a:r>
          </a:p>
          <a:p>
            <a:pPr marL="0" marR="0" lvl="0" indent="0" algn="ctr" defTabSz="913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by COVADIS 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EC1333F-333F-E641-ACE6-C234C188F8A1}"/>
              </a:ext>
            </a:extLst>
          </p:cNvPr>
          <p:cNvSpPr txBox="1"/>
          <p:nvPr/>
        </p:nvSpPr>
        <p:spPr>
          <a:xfrm>
            <a:off x="371135" y="1311258"/>
            <a:ext cx="11495233" cy="461558"/>
          </a:xfrm>
          <a:prstGeom prst="rect">
            <a:avLst/>
          </a:prstGeom>
          <a:noFill/>
        </p:spPr>
        <p:txBody>
          <a:bodyPr wrap="none" lIns="91330" tIns="45667" rIns="91330" bIns="45667" rtlCol="0">
            <a:spAutoFit/>
          </a:bodyPr>
          <a:lstStyle/>
          <a:p>
            <a:pPr marL="0" marR="0" lvl="0" indent="0" algn="ctr" defTabSz="913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ulti-center study (14 institutes in 7 countries)</a:t>
            </a:r>
            <a:r>
              <a:rPr kumimoji="1" lang="ja-JP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（</a:t>
            </a: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July 2015</a:t>
            </a:r>
            <a:r>
              <a:rPr kumimoji="1" lang="ja-JP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～</a:t>
            </a: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ecember 2019</a:t>
            </a:r>
            <a:r>
              <a:rPr kumimoji="1" lang="ja-JP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）</a:t>
            </a:r>
            <a:endParaRPr kumimoji="1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B1B7D9DB-1DA7-1B44-9DEC-A90B04BD2F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8117" y="1922753"/>
            <a:ext cx="8140261" cy="4386567"/>
          </a:xfrm>
          <a:prstGeom prst="rect">
            <a:avLst/>
          </a:prstGeom>
        </p:spPr>
      </p:pic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F93F2655-9107-6545-9E7F-AE1A76C2E0F7}"/>
              </a:ext>
            </a:extLst>
          </p:cNvPr>
          <p:cNvCxnSpPr>
            <a:cxnSpLocks/>
          </p:cNvCxnSpPr>
          <p:nvPr/>
        </p:nvCxnSpPr>
        <p:spPr>
          <a:xfrm>
            <a:off x="8542256" y="3626609"/>
            <a:ext cx="336298" cy="169539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9E070A2-E0C3-1B4A-8F31-AF144ACCADA9}"/>
              </a:ext>
            </a:extLst>
          </p:cNvPr>
          <p:cNvSpPr txBox="1"/>
          <p:nvPr/>
        </p:nvSpPr>
        <p:spPr>
          <a:xfrm>
            <a:off x="6759455" y="3151861"/>
            <a:ext cx="1855141" cy="615553"/>
          </a:xfrm>
          <a:prstGeom prst="rect">
            <a:avLst/>
          </a:prstGeom>
          <a:solidFill>
            <a:srgbClr val="FF0000"/>
          </a:solidFill>
          <a:ln w="19050" cmpd="sng">
            <a:solidFill>
              <a:schemeClr val="tx1"/>
            </a:solidFill>
          </a:ln>
        </p:spPr>
        <p:txBody>
          <a:bodyPr wrap="square" lIns="91330" tIns="45667" rIns="91330" bIns="45667" anchor="ctr">
            <a:spAutoFit/>
          </a:bodyPr>
          <a:lstStyle/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Japan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Prof. Hiroaki Shimokawa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itchFamily="34" charset="0"/>
            </a:endParaRP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 </a:t>
            </a:r>
            <a:r>
              <a:rPr kumimoji="1" lang="ja-JP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 </a:t>
            </a: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(Tohoku University)</a:t>
            </a:r>
          </a:p>
        </p:txBody>
      </p:sp>
      <p:cxnSp>
        <p:nvCxnSpPr>
          <p:cNvPr id="14" name="直線矢印コネクタ 13">
            <a:extLst>
              <a:ext uri="{FF2B5EF4-FFF2-40B4-BE49-F238E27FC236}">
                <a16:creationId xmlns:a16="http://schemas.microsoft.com/office/drawing/2014/main" id="{E547F108-C6E2-834B-BC5D-8E5A2BB652EC}"/>
              </a:ext>
            </a:extLst>
          </p:cNvPr>
          <p:cNvCxnSpPr>
            <a:cxnSpLocks/>
          </p:cNvCxnSpPr>
          <p:nvPr/>
        </p:nvCxnSpPr>
        <p:spPr>
          <a:xfrm flipH="1">
            <a:off x="8896381" y="4456325"/>
            <a:ext cx="168149" cy="590506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0C032B98-F945-264A-8B4F-ECDA11D1B4EE}"/>
              </a:ext>
            </a:extLst>
          </p:cNvPr>
          <p:cNvSpPr txBox="1"/>
          <p:nvPr/>
        </p:nvSpPr>
        <p:spPr>
          <a:xfrm>
            <a:off x="8236438" y="4148561"/>
            <a:ext cx="1656185" cy="615553"/>
          </a:xfrm>
          <a:prstGeom prst="rect">
            <a:avLst/>
          </a:prstGeom>
          <a:solidFill>
            <a:srgbClr val="00B050"/>
          </a:solidFill>
          <a:ln w="19050" cmpd="sng">
            <a:solidFill>
              <a:schemeClr val="tx1"/>
            </a:solidFill>
          </a:ln>
        </p:spPr>
        <p:txBody>
          <a:bodyPr wrap="square" lIns="91330" tIns="45667" rIns="91330" bIns="45667" anchor="ctr">
            <a:spAutoFit/>
          </a:bodyPr>
          <a:lstStyle/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Australia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Prof. John Beltrame 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ＭＳ Ｐゴシック" panose="020B0600070205080204" pitchFamily="50" charset="-128"/>
              <a:cs typeface="+mn-cs"/>
            </a:endParaRP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(</a:t>
            </a: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University of Adelaide)</a:t>
            </a:r>
          </a:p>
        </p:txBody>
      </p:sp>
      <p:cxnSp>
        <p:nvCxnSpPr>
          <p:cNvPr id="17" name="直線矢印コネクタ 16">
            <a:extLst>
              <a:ext uri="{FF2B5EF4-FFF2-40B4-BE49-F238E27FC236}">
                <a16:creationId xmlns:a16="http://schemas.microsoft.com/office/drawing/2014/main" id="{7E3C3381-7678-4E43-9F7D-FC15C57D0889}"/>
              </a:ext>
            </a:extLst>
          </p:cNvPr>
          <p:cNvCxnSpPr>
            <a:cxnSpLocks/>
          </p:cNvCxnSpPr>
          <p:nvPr/>
        </p:nvCxnSpPr>
        <p:spPr>
          <a:xfrm flipH="1" flipV="1">
            <a:off x="3754895" y="4092750"/>
            <a:ext cx="290779" cy="671353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F8D310A8-D6B9-D742-A790-0562980FCF40}"/>
              </a:ext>
            </a:extLst>
          </p:cNvPr>
          <p:cNvSpPr/>
          <p:nvPr/>
        </p:nvSpPr>
        <p:spPr>
          <a:xfrm>
            <a:off x="2422493" y="4572804"/>
            <a:ext cx="2199996" cy="1077218"/>
          </a:xfrm>
          <a:prstGeom prst="rect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txBody>
          <a:bodyPr wrap="square" lIns="91330" tIns="45667" rIns="91330" bIns="45667" anchor="ctr">
            <a:spAutoFit/>
          </a:bodyPr>
          <a:lstStyle/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anose="020B0600070205080204" pitchFamily="50" charset="-128"/>
                <a:cs typeface="Arial" pitchFamily="34" charset="0"/>
              </a:rPr>
              <a:t>USA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anose="020B0600070205080204" pitchFamily="50" charset="-128"/>
                <a:cs typeface="Arial" pitchFamily="34" charset="0"/>
              </a:rPr>
              <a:t>Prof. C. Noel Bairey Merz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anose="020B0600070205080204" pitchFamily="50" charset="-128"/>
              <a:cs typeface="Arial" pitchFamily="34" charset="0"/>
            </a:endParaRP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anose="020B0600070205080204" pitchFamily="50" charset="-128"/>
                <a:cs typeface="Arial" pitchFamily="34" charset="0"/>
              </a:rPr>
              <a:t> (Cedars-Sinai Medical Center)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anose="020B0600070205080204" pitchFamily="50" charset="-128"/>
                <a:cs typeface="Arial" pitchFamily="34" charset="0"/>
              </a:rPr>
              <a:t> 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anose="020B0600070205080204" pitchFamily="50" charset="-128"/>
                <a:cs typeface="Arial" pitchFamily="34" charset="0"/>
              </a:rPr>
              <a:t>Dr. Basmah Safdar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anose="020B0600070205080204" pitchFamily="50" charset="-128"/>
                <a:cs typeface="Arial" pitchFamily="34" charset="0"/>
              </a:rPr>
              <a:t>(Yale University)</a:t>
            </a:r>
          </a:p>
        </p:txBody>
      </p:sp>
      <p:cxnSp>
        <p:nvCxnSpPr>
          <p:cNvPr id="20" name="直線矢印コネクタ 19">
            <a:extLst>
              <a:ext uri="{FF2B5EF4-FFF2-40B4-BE49-F238E27FC236}">
                <a16:creationId xmlns:a16="http://schemas.microsoft.com/office/drawing/2014/main" id="{E95870E2-521E-BF43-92DB-DADD7E3B815B}"/>
              </a:ext>
            </a:extLst>
          </p:cNvPr>
          <p:cNvCxnSpPr>
            <a:cxnSpLocks/>
          </p:cNvCxnSpPr>
          <p:nvPr/>
        </p:nvCxnSpPr>
        <p:spPr>
          <a:xfrm flipH="1" flipV="1">
            <a:off x="6162450" y="3845871"/>
            <a:ext cx="56712" cy="1380813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1BBDC7F-5B7F-264F-BBB0-CA002798D64D}"/>
              </a:ext>
            </a:extLst>
          </p:cNvPr>
          <p:cNvSpPr txBox="1"/>
          <p:nvPr/>
        </p:nvSpPr>
        <p:spPr>
          <a:xfrm>
            <a:off x="4860953" y="4899322"/>
            <a:ext cx="2716426" cy="1077218"/>
          </a:xfrm>
          <a:prstGeom prst="rect">
            <a:avLst/>
          </a:prstGeom>
          <a:solidFill>
            <a:srgbClr val="7030A0"/>
          </a:solidFill>
          <a:ln w="19050">
            <a:solidFill>
              <a:schemeClr val="tx1"/>
            </a:solidFill>
          </a:ln>
        </p:spPr>
        <p:txBody>
          <a:bodyPr wrap="square" lIns="91330" tIns="45667" rIns="91330" bIns="45667" anchor="ctr">
            <a:spAutoFit/>
          </a:bodyPr>
          <a:lstStyle/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Italy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Prof. Paolo</a:t>
            </a:r>
            <a:r>
              <a:rPr kumimoji="1" lang="ja-JP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 </a:t>
            </a: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G. Camici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 (</a:t>
            </a: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Vita-Salute San Raffaele University)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ＭＳ Ｐゴシック" panose="020B0600070205080204" pitchFamily="50" charset="-128"/>
              <a:cs typeface="+mn-cs"/>
            </a:endParaRP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Prof. Filippo Crea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 (</a:t>
            </a: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Catholic University of the Sacred Heart)</a:t>
            </a:r>
            <a:r>
              <a:rPr kumimoji="1" lang="en-US" altLang="ja-JP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 </a:t>
            </a:r>
          </a:p>
        </p:txBody>
      </p:sp>
      <p:cxnSp>
        <p:nvCxnSpPr>
          <p:cNvPr id="24" name="直線矢印コネクタ 23">
            <a:extLst>
              <a:ext uri="{FF2B5EF4-FFF2-40B4-BE49-F238E27FC236}">
                <a16:creationId xmlns:a16="http://schemas.microsoft.com/office/drawing/2014/main" id="{E84CE422-3B1F-3B48-A739-A54C37D8EF1B}"/>
              </a:ext>
            </a:extLst>
          </p:cNvPr>
          <p:cNvCxnSpPr>
            <a:cxnSpLocks/>
          </p:cNvCxnSpPr>
          <p:nvPr/>
        </p:nvCxnSpPr>
        <p:spPr>
          <a:xfrm flipH="1">
            <a:off x="6162462" y="2534064"/>
            <a:ext cx="1408627" cy="909065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3548A3B3-4A70-3549-90D0-BD56171147C5}"/>
              </a:ext>
            </a:extLst>
          </p:cNvPr>
          <p:cNvSpPr/>
          <p:nvPr/>
        </p:nvSpPr>
        <p:spPr>
          <a:xfrm>
            <a:off x="7158507" y="2098717"/>
            <a:ext cx="2098171" cy="769441"/>
          </a:xfrm>
          <a:prstGeom prst="rect">
            <a:avLst/>
          </a:prstGeom>
          <a:solidFill>
            <a:srgbClr val="0070C0"/>
          </a:solidFill>
          <a:ln w="19050">
            <a:solidFill>
              <a:schemeClr val="tx1"/>
            </a:solidFill>
          </a:ln>
        </p:spPr>
        <p:txBody>
          <a:bodyPr wrap="square" lIns="91330" tIns="45667" rIns="91330" bIns="45667" anchor="ctr">
            <a:spAutoFit/>
          </a:bodyPr>
          <a:lstStyle/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Germany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Dr. Peter Ong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Prof. Udo Sechtem 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(</a:t>
            </a: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Robert-Bosch-Krankenhaus)</a:t>
            </a:r>
          </a:p>
        </p:txBody>
      </p:sp>
      <p:cxnSp>
        <p:nvCxnSpPr>
          <p:cNvPr id="27" name="直線矢印コネクタ 26">
            <a:extLst>
              <a:ext uri="{FF2B5EF4-FFF2-40B4-BE49-F238E27FC236}">
                <a16:creationId xmlns:a16="http://schemas.microsoft.com/office/drawing/2014/main" id="{4643DFBF-7073-C745-96D5-BA68C660E900}"/>
              </a:ext>
            </a:extLst>
          </p:cNvPr>
          <p:cNvCxnSpPr>
            <a:cxnSpLocks/>
          </p:cNvCxnSpPr>
          <p:nvPr/>
        </p:nvCxnSpPr>
        <p:spPr>
          <a:xfrm>
            <a:off x="5664915" y="2302618"/>
            <a:ext cx="42571" cy="890216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66B90ABA-9B3B-6C44-BD38-D5AEDDB7662F}"/>
              </a:ext>
            </a:extLst>
          </p:cNvPr>
          <p:cNvSpPr/>
          <p:nvPr/>
        </p:nvSpPr>
        <p:spPr>
          <a:xfrm>
            <a:off x="5159896" y="1803020"/>
            <a:ext cx="1728192" cy="1077218"/>
          </a:xfrm>
          <a:prstGeom prst="rect">
            <a:avLst/>
          </a:prstGeom>
          <a:solidFill>
            <a:srgbClr val="00FFFF"/>
          </a:solidFill>
          <a:ln w="19050">
            <a:solidFill>
              <a:schemeClr val="tx1"/>
            </a:solidFill>
          </a:ln>
        </p:spPr>
        <p:txBody>
          <a:bodyPr wrap="square" lIns="91330" tIns="45667" rIns="91330" bIns="45667" anchor="ctr">
            <a:spAutoFit/>
          </a:bodyPr>
          <a:lstStyle/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UK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Prof. Juan Carlos Kaski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(St .George’s University</a:t>
            </a: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)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anose="020B0600070205080204" pitchFamily="50" charset="-128"/>
              <a:cs typeface="+mn-cs"/>
            </a:endParaRP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Prof. Colin Berry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anose="020B0600070205080204" pitchFamily="50" charset="-128"/>
                <a:cs typeface="+mn-cs"/>
              </a:rPr>
              <a:t>(University of Glasgow)</a:t>
            </a:r>
          </a:p>
        </p:txBody>
      </p:sp>
      <p:cxnSp>
        <p:nvCxnSpPr>
          <p:cNvPr id="32" name="直線矢印コネクタ 31">
            <a:extLst>
              <a:ext uri="{FF2B5EF4-FFF2-40B4-BE49-F238E27FC236}">
                <a16:creationId xmlns:a16="http://schemas.microsoft.com/office/drawing/2014/main" id="{ADF6B27D-9DF1-3F46-94D0-2D457BA6E884}"/>
              </a:ext>
            </a:extLst>
          </p:cNvPr>
          <p:cNvCxnSpPr>
            <a:cxnSpLocks/>
          </p:cNvCxnSpPr>
          <p:nvPr/>
        </p:nvCxnSpPr>
        <p:spPr>
          <a:xfrm>
            <a:off x="4767409" y="3237334"/>
            <a:ext cx="854458" cy="444582"/>
          </a:xfrm>
          <a:prstGeom prst="straightConnector1">
            <a:avLst/>
          </a:prstGeom>
          <a:ln w="1270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33F0DCAA-B33C-BF4A-867D-40366EB69383}"/>
              </a:ext>
            </a:extLst>
          </p:cNvPr>
          <p:cNvSpPr txBox="1"/>
          <p:nvPr/>
        </p:nvSpPr>
        <p:spPr>
          <a:xfrm>
            <a:off x="2896167" y="2796244"/>
            <a:ext cx="2061321" cy="615553"/>
          </a:xfrm>
          <a:prstGeom prst="rect">
            <a:avLst/>
          </a:prstGeom>
          <a:solidFill>
            <a:srgbClr val="FF7900"/>
          </a:solidFill>
          <a:ln w="19050" cmpd="sng">
            <a:solidFill>
              <a:schemeClr val="tx1"/>
            </a:solidFill>
          </a:ln>
        </p:spPr>
        <p:txBody>
          <a:bodyPr wrap="square" lIns="91330" tIns="45667" rIns="91330" bIns="45667" anchor="ctr">
            <a:spAutoFit/>
          </a:bodyPr>
          <a:lstStyle/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Spain</a:t>
            </a: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Prof. Javier Escaned</a:t>
            </a: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itchFamily="34" charset="0"/>
            </a:endParaRPr>
          </a:p>
          <a:p>
            <a:pPr marL="0" marR="0" lvl="0" indent="0" algn="ctr" defTabSz="9128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 </a:t>
            </a:r>
            <a:r>
              <a:rPr kumimoji="1" lang="ja-JP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 </a:t>
            </a: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itchFamily="34" charset="0"/>
              </a:rPr>
              <a:t>(Hospital Clinico San Carlos)</a:t>
            </a:r>
          </a:p>
        </p:txBody>
      </p:sp>
      <p:sp>
        <p:nvSpPr>
          <p:cNvPr id="25" name="テキスト ボックス 14">
            <a:extLst>
              <a:ext uri="{FF2B5EF4-FFF2-40B4-BE49-F238E27FC236}">
                <a16:creationId xmlns:a16="http://schemas.microsoft.com/office/drawing/2014/main" id="{9F1D8886-5F0C-43F1-A8B0-8E96CF2EF8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6637" y="6453336"/>
            <a:ext cx="54840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(Shimokawa H, et al. </a:t>
            </a:r>
            <a:r>
              <a:rPr kumimoji="1" lang="en-US" altLang="ja-JP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</a:t>
            </a:r>
            <a:r>
              <a:rPr kumimoji="1" lang="en-US" altLang="ja-JP" sz="1600" b="1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ur</a:t>
            </a:r>
            <a:r>
              <a:rPr kumimoji="1" lang="en-US" altLang="ja-JP" sz="16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1" lang="en-US" altLang="ja-JP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Heart J</a:t>
            </a:r>
            <a:r>
              <a:rPr kumimoji="1" lang="en-US" altLang="ja-JP" sz="16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. </a:t>
            </a:r>
            <a:r>
              <a:rPr kumimoji="1" lang="en-US" altLang="ja-JP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2021;42:4592-4600.</a:t>
            </a:r>
            <a:r>
              <a:rPr kumimoji="1" lang="en-US" altLang="ja-JP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)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5978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6" name="グラフ 165">
            <a:extLst>
              <a:ext uri="{FF2B5EF4-FFF2-40B4-BE49-F238E27FC236}">
                <a16:creationId xmlns:a16="http://schemas.microsoft.com/office/drawing/2014/main" id="{AC8311A6-7DF3-4008-8271-2A7773CA7FA4}"/>
              </a:ext>
            </a:extLst>
          </p:cNvPr>
          <p:cNvGraphicFramePr/>
          <p:nvPr>
            <p:extLst/>
          </p:nvPr>
        </p:nvGraphicFramePr>
        <p:xfrm>
          <a:off x="8086980" y="1650409"/>
          <a:ext cx="3032036" cy="1604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5" name="四角形: 角を丸くする 54">
            <a:extLst>
              <a:ext uri="{FF2B5EF4-FFF2-40B4-BE49-F238E27FC236}">
                <a16:creationId xmlns:a16="http://schemas.microsoft.com/office/drawing/2014/main" id="{73622B3C-A6A6-4A77-B9D9-5F680804793D}"/>
              </a:ext>
            </a:extLst>
          </p:cNvPr>
          <p:cNvSpPr/>
          <p:nvPr/>
        </p:nvSpPr>
        <p:spPr>
          <a:xfrm>
            <a:off x="1884512" y="584784"/>
            <a:ext cx="8820000" cy="900000"/>
          </a:xfrm>
          <a:prstGeom prst="roundRect">
            <a:avLst/>
          </a:prstGeom>
          <a:solidFill>
            <a:srgbClr val="FFFFCC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graphicFrame>
        <p:nvGraphicFramePr>
          <p:cNvPr id="34" name="グラフ 33">
            <a:extLst>
              <a:ext uri="{FF2B5EF4-FFF2-40B4-BE49-F238E27FC236}">
                <a16:creationId xmlns:a16="http://schemas.microsoft.com/office/drawing/2014/main" id="{7C4C0AA8-5910-43F6-B86D-C20E6596FE3C}"/>
              </a:ext>
            </a:extLst>
          </p:cNvPr>
          <p:cNvGraphicFramePr/>
          <p:nvPr>
            <p:extLst/>
          </p:nvPr>
        </p:nvGraphicFramePr>
        <p:xfrm>
          <a:off x="4336817" y="1723267"/>
          <a:ext cx="2191521" cy="1636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図 8">
            <a:extLst>
              <a:ext uri="{FF2B5EF4-FFF2-40B4-BE49-F238E27FC236}">
                <a16:creationId xmlns:a16="http://schemas.microsoft.com/office/drawing/2014/main" id="{3286A234-51D4-43DD-95F1-8EAFBE829A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6356" y="699621"/>
            <a:ext cx="731130" cy="4471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D16E1D33-B934-4738-B453-06877AC04B1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0294" y="719193"/>
            <a:ext cx="731130" cy="40804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26" name="Picture 2" descr="イギリス国旗の無料イラスト素材｜イラストイメージ">
            <a:extLst>
              <a:ext uri="{FF2B5EF4-FFF2-40B4-BE49-F238E27FC236}">
                <a16:creationId xmlns:a16="http://schemas.microsoft.com/office/drawing/2014/main" id="{D3E669A1-CC32-408F-99EA-4DADAB67EC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01" t="25086" r="11947" b="25017"/>
          <a:stretch/>
        </p:blipFill>
        <p:spPr bwMode="auto">
          <a:xfrm>
            <a:off x="3585297" y="700681"/>
            <a:ext cx="731130" cy="44507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ドイツ | 地図に使えるフリー素材.jp">
            <a:extLst>
              <a:ext uri="{FF2B5EF4-FFF2-40B4-BE49-F238E27FC236}">
                <a16:creationId xmlns:a16="http://schemas.microsoft.com/office/drawing/2014/main" id="{28BBE8DF-5F74-46C0-B921-00DE0CAC8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782640" y="700067"/>
            <a:ext cx="731130" cy="44629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1A99844-4614-4AF8-A6D6-034301FF3007}"/>
              </a:ext>
            </a:extLst>
          </p:cNvPr>
          <p:cNvSpPr txBox="1"/>
          <p:nvPr/>
        </p:nvSpPr>
        <p:spPr>
          <a:xfrm>
            <a:off x="2315290" y="1155000"/>
            <a:ext cx="931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N=191)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03DF28A1-A87D-49BC-ACD0-B2357FBE4F38}"/>
              </a:ext>
            </a:extLst>
          </p:cNvPr>
          <p:cNvSpPr txBox="1"/>
          <p:nvPr/>
        </p:nvSpPr>
        <p:spPr>
          <a:xfrm>
            <a:off x="3406806" y="1155000"/>
            <a:ext cx="946066" cy="3147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N=171)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AE67DA9A-8172-4C1C-AA7F-9B8182F608B1}"/>
              </a:ext>
            </a:extLst>
          </p:cNvPr>
          <p:cNvSpPr txBox="1"/>
          <p:nvPr/>
        </p:nvSpPr>
        <p:spPr>
          <a:xfrm>
            <a:off x="4643220" y="1155000"/>
            <a:ext cx="931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N=109)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5EDEBFB1-260A-4EA4-9F76-118D6102483B}"/>
              </a:ext>
            </a:extLst>
          </p:cNvPr>
          <p:cNvSpPr txBox="1"/>
          <p:nvPr/>
        </p:nvSpPr>
        <p:spPr>
          <a:xfrm>
            <a:off x="5838813" y="1155000"/>
            <a:ext cx="8178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N=88)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483794F2-A35A-42D9-8F93-58C27E67C807}"/>
              </a:ext>
            </a:extLst>
          </p:cNvPr>
          <p:cNvSpPr txBox="1"/>
          <p:nvPr/>
        </p:nvSpPr>
        <p:spPr>
          <a:xfrm>
            <a:off x="7047415" y="1155000"/>
            <a:ext cx="8178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N=59)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1BEC6F1F-A4B5-47E2-851C-A1DDC514DC1C}"/>
              </a:ext>
            </a:extLst>
          </p:cNvPr>
          <p:cNvSpPr txBox="1"/>
          <p:nvPr/>
        </p:nvSpPr>
        <p:spPr>
          <a:xfrm>
            <a:off x="8185951" y="1155000"/>
            <a:ext cx="830494" cy="3147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N=51)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D81918F7-C4CF-4D02-8BF1-0E421E99D152}"/>
              </a:ext>
            </a:extLst>
          </p:cNvPr>
          <p:cNvSpPr txBox="1"/>
          <p:nvPr/>
        </p:nvSpPr>
        <p:spPr>
          <a:xfrm>
            <a:off x="9334194" y="1155000"/>
            <a:ext cx="830494" cy="3147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N=17)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pic>
        <p:nvPicPr>
          <p:cNvPr id="1030" name="Picture 6" descr="アメリカ | 地図に使えるフリー素材.jp">
            <a:extLst>
              <a:ext uri="{FF2B5EF4-FFF2-40B4-BE49-F238E27FC236}">
                <a16:creationId xmlns:a16="http://schemas.microsoft.com/office/drawing/2014/main" id="{6034D005-BBB5-4277-AA12-CEC506ABD3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0342" y="700067"/>
            <a:ext cx="731130" cy="44629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イタリア | 地図に使えるフリー素材.jp">
            <a:extLst>
              <a:ext uri="{FF2B5EF4-FFF2-40B4-BE49-F238E27FC236}">
                <a16:creationId xmlns:a16="http://schemas.microsoft.com/office/drawing/2014/main" id="{1DDD0208-AFDD-47D2-BF4A-E2BB4548B0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9518" y="700067"/>
            <a:ext cx="731130" cy="44629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日本 | 地図に使えるフリー素材.jp">
            <a:extLst>
              <a:ext uri="{FF2B5EF4-FFF2-40B4-BE49-F238E27FC236}">
                <a16:creationId xmlns:a16="http://schemas.microsoft.com/office/drawing/2014/main" id="{5739DED3-3EBA-4AD0-BC76-09508D1DF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333" y="700067"/>
            <a:ext cx="731130" cy="44629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グラフ 20">
            <a:extLst>
              <a:ext uri="{FF2B5EF4-FFF2-40B4-BE49-F238E27FC236}">
                <a16:creationId xmlns:a16="http://schemas.microsoft.com/office/drawing/2014/main" id="{35F8830B-0D0D-4B07-90BD-878AE5C55C8C}"/>
              </a:ext>
            </a:extLst>
          </p:cNvPr>
          <p:cNvGraphicFramePr/>
          <p:nvPr>
            <p:extLst/>
          </p:nvPr>
        </p:nvGraphicFramePr>
        <p:xfrm>
          <a:off x="612560" y="1700049"/>
          <a:ext cx="1809975" cy="16512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5783EF26-5F92-45E5-9434-398D4505CC03}"/>
              </a:ext>
            </a:extLst>
          </p:cNvPr>
          <p:cNvSpPr txBox="1"/>
          <p:nvPr/>
        </p:nvSpPr>
        <p:spPr>
          <a:xfrm>
            <a:off x="932201" y="1501091"/>
            <a:ext cx="1177212" cy="34340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thnicity</a:t>
            </a:r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9516067F-9FF2-4E1A-A3F5-124929FD7D58}"/>
              </a:ext>
            </a:extLst>
          </p:cNvPr>
          <p:cNvSpPr txBox="1"/>
          <p:nvPr/>
        </p:nvSpPr>
        <p:spPr>
          <a:xfrm>
            <a:off x="1368991" y="2518889"/>
            <a:ext cx="967229" cy="4292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Caucasian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61%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6BB826DC-6764-4755-9F54-B6268C55F04D}"/>
              </a:ext>
            </a:extLst>
          </p:cNvPr>
          <p:cNvSpPr txBox="1"/>
          <p:nvPr/>
        </p:nvSpPr>
        <p:spPr>
          <a:xfrm>
            <a:off x="784564" y="2266444"/>
            <a:ext cx="6030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Asian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29%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D01FE7EF-C304-421B-9853-C5AF1314629C}"/>
              </a:ext>
            </a:extLst>
          </p:cNvPr>
          <p:cNvSpPr txBox="1"/>
          <p:nvPr/>
        </p:nvSpPr>
        <p:spPr>
          <a:xfrm rot="3671106">
            <a:off x="987055" y="2024470"/>
            <a:ext cx="627780" cy="2500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Hispanic</a:t>
            </a:r>
            <a:endParaRPr kumimoji="1" lang="ja-JP" alt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8A919FF0-FDBA-4670-B15D-8A3DACCA40AF}"/>
              </a:ext>
            </a:extLst>
          </p:cNvPr>
          <p:cNvSpPr txBox="1"/>
          <p:nvPr/>
        </p:nvSpPr>
        <p:spPr>
          <a:xfrm rot="4907609">
            <a:off x="1152043" y="1931190"/>
            <a:ext cx="600952" cy="2812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Others</a:t>
            </a: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graphicFrame>
        <p:nvGraphicFramePr>
          <p:cNvPr id="26" name="グラフ 25">
            <a:extLst>
              <a:ext uri="{FF2B5EF4-FFF2-40B4-BE49-F238E27FC236}">
                <a16:creationId xmlns:a16="http://schemas.microsoft.com/office/drawing/2014/main" id="{3A6CE3E8-1276-4035-B0D6-0020981722A4}"/>
              </a:ext>
            </a:extLst>
          </p:cNvPr>
          <p:cNvGraphicFramePr/>
          <p:nvPr>
            <p:extLst/>
          </p:nvPr>
        </p:nvGraphicFramePr>
        <p:xfrm>
          <a:off x="2093421" y="1728489"/>
          <a:ext cx="2890451" cy="1643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4F63CB8A-249F-43F5-BA14-447B0FEE63F9}"/>
              </a:ext>
            </a:extLst>
          </p:cNvPr>
          <p:cNvSpPr txBox="1"/>
          <p:nvPr/>
        </p:nvSpPr>
        <p:spPr>
          <a:xfrm>
            <a:off x="3225717" y="1501091"/>
            <a:ext cx="604233" cy="34340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ex</a:t>
            </a:r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35568E8E-FDAE-4916-86E1-439E3280C5F4}"/>
              </a:ext>
            </a:extLst>
          </p:cNvPr>
          <p:cNvSpPr txBox="1"/>
          <p:nvPr/>
        </p:nvSpPr>
        <p:spPr>
          <a:xfrm>
            <a:off x="2893023" y="2106257"/>
            <a:ext cx="672600" cy="4864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Mal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36%)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899FDC79-CA6A-4AEF-8BF2-6A7D7135F388}"/>
              </a:ext>
            </a:extLst>
          </p:cNvPr>
          <p:cNvSpPr txBox="1"/>
          <p:nvPr/>
        </p:nvSpPr>
        <p:spPr>
          <a:xfrm>
            <a:off x="3467874" y="2360802"/>
            <a:ext cx="8250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Femal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64%)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C3B9578E-E733-4AB2-BBE6-1EF2E9BFA861}"/>
              </a:ext>
            </a:extLst>
          </p:cNvPr>
          <p:cNvSpPr txBox="1"/>
          <p:nvPr/>
        </p:nvSpPr>
        <p:spPr>
          <a:xfrm>
            <a:off x="5107359" y="1501091"/>
            <a:ext cx="630277" cy="34340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ge</a:t>
            </a:r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774620C3-0C00-478C-A4F7-E0A76658A8FC}"/>
              </a:ext>
            </a:extLst>
          </p:cNvPr>
          <p:cNvSpPr txBox="1"/>
          <p:nvPr/>
        </p:nvSpPr>
        <p:spPr>
          <a:xfrm>
            <a:off x="5446623" y="2071306"/>
            <a:ext cx="5934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60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31%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D86E46B6-5343-40EA-AE6F-961513EE339E}"/>
              </a:ext>
            </a:extLst>
          </p:cNvPr>
          <p:cNvSpPr txBox="1"/>
          <p:nvPr/>
        </p:nvSpPr>
        <p:spPr>
          <a:xfrm>
            <a:off x="5244542" y="2645934"/>
            <a:ext cx="5934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50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29%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35C99AC2-8545-4EFA-BFC9-2F1D6381D9F6}"/>
              </a:ext>
            </a:extLst>
          </p:cNvPr>
          <p:cNvSpPr txBox="1"/>
          <p:nvPr/>
        </p:nvSpPr>
        <p:spPr>
          <a:xfrm>
            <a:off x="4699914" y="2361307"/>
            <a:ext cx="5934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70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23%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6D3E9F04-CEC3-4931-9BE4-5E3BD9F4793B}"/>
              </a:ext>
            </a:extLst>
          </p:cNvPr>
          <p:cNvSpPr txBox="1"/>
          <p:nvPr/>
        </p:nvSpPr>
        <p:spPr>
          <a:xfrm>
            <a:off x="4823206" y="1924379"/>
            <a:ext cx="5934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&lt;50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(15%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27720816-828C-44F8-8273-3F78ADA76A8D}"/>
              </a:ext>
            </a:extLst>
          </p:cNvPr>
          <p:cNvSpPr txBox="1"/>
          <p:nvPr/>
        </p:nvSpPr>
        <p:spPr>
          <a:xfrm rot="5131008">
            <a:off x="6605901" y="1816140"/>
            <a:ext cx="413154" cy="2812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&lt;80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DCD4F6BC-8498-49B4-AEDE-627E3C3F8A71}"/>
              </a:ext>
            </a:extLst>
          </p:cNvPr>
          <p:cNvSpPr txBox="1"/>
          <p:nvPr/>
        </p:nvSpPr>
        <p:spPr>
          <a:xfrm>
            <a:off x="8923935" y="1489861"/>
            <a:ext cx="1528812" cy="34340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Risk factors</a:t>
            </a:r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0497E90E-BB7F-4891-A4F6-6394C6314075}"/>
              </a:ext>
            </a:extLst>
          </p:cNvPr>
          <p:cNvSpPr txBox="1"/>
          <p:nvPr/>
        </p:nvSpPr>
        <p:spPr>
          <a:xfrm>
            <a:off x="6887147" y="2132154"/>
            <a:ext cx="1348130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Hypertension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57" name="テキスト ボックス 56">
            <a:extLst>
              <a:ext uri="{FF2B5EF4-FFF2-40B4-BE49-F238E27FC236}">
                <a16:creationId xmlns:a16="http://schemas.microsoft.com/office/drawing/2014/main" id="{E8AE49CD-E0D1-444B-A756-6B65A6DE3029}"/>
              </a:ext>
            </a:extLst>
          </p:cNvPr>
          <p:cNvSpPr txBox="1"/>
          <p:nvPr/>
        </p:nvSpPr>
        <p:spPr>
          <a:xfrm>
            <a:off x="6936011" y="1806862"/>
            <a:ext cx="1309062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Dyslipidemia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A7B51F25-29B5-4880-9FE8-D4D6CCE5C74A}"/>
              </a:ext>
            </a:extLst>
          </p:cNvPr>
          <p:cNvSpPr txBox="1"/>
          <p:nvPr/>
        </p:nvSpPr>
        <p:spPr>
          <a:xfrm>
            <a:off x="6616157" y="2796169"/>
            <a:ext cx="1642758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Current smoking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CE8508F1-22B6-4F04-A07C-1CC42C771A4D}"/>
              </a:ext>
            </a:extLst>
          </p:cNvPr>
          <p:cNvSpPr txBox="1"/>
          <p:nvPr/>
        </p:nvSpPr>
        <p:spPr>
          <a:xfrm>
            <a:off x="6599539" y="2454446"/>
            <a:ext cx="1681824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Diabetes mellitus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21B0A9D6-5CFD-4798-B533-AB30D06132AE}"/>
              </a:ext>
            </a:extLst>
          </p:cNvPr>
          <p:cNvSpPr txBox="1"/>
          <p:nvPr/>
        </p:nvSpPr>
        <p:spPr>
          <a:xfrm>
            <a:off x="9270344" y="1818650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52%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D1EA8FF0-6673-44B3-92EE-D9212CC4F318}"/>
              </a:ext>
            </a:extLst>
          </p:cNvPr>
          <p:cNvSpPr txBox="1"/>
          <p:nvPr/>
        </p:nvSpPr>
        <p:spPr>
          <a:xfrm>
            <a:off x="9270355" y="2144459"/>
            <a:ext cx="523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52%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861F8DA9-A19D-4D7F-AF5C-6EC5D4C7D6F1}"/>
              </a:ext>
            </a:extLst>
          </p:cNvPr>
          <p:cNvSpPr txBox="1"/>
          <p:nvPr/>
        </p:nvSpPr>
        <p:spPr>
          <a:xfrm>
            <a:off x="8381929" y="2810623"/>
            <a:ext cx="5420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6%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56" name="テキスト ボックス 155">
            <a:extLst>
              <a:ext uri="{FF2B5EF4-FFF2-40B4-BE49-F238E27FC236}">
                <a16:creationId xmlns:a16="http://schemas.microsoft.com/office/drawing/2014/main" id="{D234CA93-E900-4C3B-8896-E8B080687711}"/>
              </a:ext>
            </a:extLst>
          </p:cNvPr>
          <p:cNvSpPr txBox="1"/>
          <p:nvPr/>
        </p:nvSpPr>
        <p:spPr>
          <a:xfrm>
            <a:off x="10999654" y="3005891"/>
            <a:ext cx="504000" cy="32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(%)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57" name="テキスト ボックス 156">
            <a:extLst>
              <a:ext uri="{FF2B5EF4-FFF2-40B4-BE49-F238E27FC236}">
                <a16:creationId xmlns:a16="http://schemas.microsoft.com/office/drawing/2014/main" id="{79460E53-F282-4FB1-AEC7-709A6F5DE23C}"/>
              </a:ext>
            </a:extLst>
          </p:cNvPr>
          <p:cNvSpPr txBox="1"/>
          <p:nvPr/>
        </p:nvSpPr>
        <p:spPr>
          <a:xfrm>
            <a:off x="8078664" y="3030778"/>
            <a:ext cx="288443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0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58" name="テキスト ボックス 157">
            <a:extLst>
              <a:ext uri="{FF2B5EF4-FFF2-40B4-BE49-F238E27FC236}">
                <a16:creationId xmlns:a16="http://schemas.microsoft.com/office/drawing/2014/main" id="{823A7037-0A95-4204-888A-5C4759A3743A}"/>
              </a:ext>
            </a:extLst>
          </p:cNvPr>
          <p:cNvSpPr txBox="1"/>
          <p:nvPr/>
        </p:nvSpPr>
        <p:spPr>
          <a:xfrm>
            <a:off x="8941859" y="3039126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0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59" name="テキスト ボックス 158">
            <a:extLst>
              <a:ext uri="{FF2B5EF4-FFF2-40B4-BE49-F238E27FC236}">
                <a16:creationId xmlns:a16="http://schemas.microsoft.com/office/drawing/2014/main" id="{C114CE40-6595-460D-9775-65A276D80FA7}"/>
              </a:ext>
            </a:extLst>
          </p:cNvPr>
          <p:cNvSpPr txBox="1"/>
          <p:nvPr/>
        </p:nvSpPr>
        <p:spPr>
          <a:xfrm>
            <a:off x="9854620" y="3040644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40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60" name="テキスト ボックス 159">
            <a:extLst>
              <a:ext uri="{FF2B5EF4-FFF2-40B4-BE49-F238E27FC236}">
                <a16:creationId xmlns:a16="http://schemas.microsoft.com/office/drawing/2014/main" id="{0A13159B-7FFB-485D-9A05-BDDB43DB900E}"/>
              </a:ext>
            </a:extLst>
          </p:cNvPr>
          <p:cNvSpPr txBox="1"/>
          <p:nvPr/>
        </p:nvSpPr>
        <p:spPr>
          <a:xfrm>
            <a:off x="10771366" y="3040942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60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" name="テキスト ボックス 1"/>
          <p:cNvSpPr txBox="1"/>
          <p:nvPr/>
        </p:nvSpPr>
        <p:spPr>
          <a:xfrm>
            <a:off x="150999" y="1456754"/>
            <a:ext cx="451222" cy="4864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A</a:t>
            </a:r>
            <a:endParaRPr kumimoji="1" lang="ja-JP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pic>
        <p:nvPicPr>
          <p:cNvPr id="99" name="図 98">
            <a:extLst>
              <a:ext uri="{FF2B5EF4-FFF2-40B4-BE49-F238E27FC236}">
                <a16:creationId xmlns:a16="http://schemas.microsoft.com/office/drawing/2014/main" id="{CB527C0C-2805-4F60-A92F-8201CEF6D9F0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2024" r="2553"/>
          <a:stretch/>
        </p:blipFill>
        <p:spPr>
          <a:xfrm>
            <a:off x="3533157" y="3285692"/>
            <a:ext cx="4251192" cy="2827656"/>
          </a:xfrm>
          <a:prstGeom prst="rect">
            <a:avLst/>
          </a:prstGeom>
        </p:spPr>
      </p:pic>
      <p:sp>
        <p:nvSpPr>
          <p:cNvPr id="100" name="テキスト ボックス 99">
            <a:extLst>
              <a:ext uri="{FF2B5EF4-FFF2-40B4-BE49-F238E27FC236}">
                <a16:creationId xmlns:a16="http://schemas.microsoft.com/office/drawing/2014/main" id="{F95A4454-E64D-484B-938D-1AD29498D6F5}"/>
              </a:ext>
            </a:extLst>
          </p:cNvPr>
          <p:cNvSpPr txBox="1"/>
          <p:nvPr/>
        </p:nvSpPr>
        <p:spPr>
          <a:xfrm>
            <a:off x="3450717" y="3222366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4</a:t>
            </a: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1" name="テキスト ボックス 100">
            <a:extLst>
              <a:ext uri="{FF2B5EF4-FFF2-40B4-BE49-F238E27FC236}">
                <a16:creationId xmlns:a16="http://schemas.microsoft.com/office/drawing/2014/main" id="{E6DE2A35-E124-47E7-8891-1E69226CB07D}"/>
              </a:ext>
            </a:extLst>
          </p:cNvPr>
          <p:cNvSpPr txBox="1"/>
          <p:nvPr/>
        </p:nvSpPr>
        <p:spPr>
          <a:xfrm>
            <a:off x="3451813" y="3802458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3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2" name="テキスト ボックス 101">
            <a:extLst>
              <a:ext uri="{FF2B5EF4-FFF2-40B4-BE49-F238E27FC236}">
                <a16:creationId xmlns:a16="http://schemas.microsoft.com/office/drawing/2014/main" id="{E1C35D4D-6772-427B-852C-9C3068268E0B}"/>
              </a:ext>
            </a:extLst>
          </p:cNvPr>
          <p:cNvSpPr txBox="1"/>
          <p:nvPr/>
        </p:nvSpPr>
        <p:spPr>
          <a:xfrm>
            <a:off x="3459503" y="4393969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3" name="テキスト ボックス 102">
            <a:extLst>
              <a:ext uri="{FF2B5EF4-FFF2-40B4-BE49-F238E27FC236}">
                <a16:creationId xmlns:a16="http://schemas.microsoft.com/office/drawing/2014/main" id="{5CE9B276-552A-4C53-ADB9-8DFCC44AD92F}"/>
              </a:ext>
            </a:extLst>
          </p:cNvPr>
          <p:cNvSpPr txBox="1"/>
          <p:nvPr/>
        </p:nvSpPr>
        <p:spPr>
          <a:xfrm>
            <a:off x="3454127" y="5005039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4" name="テキスト ボックス 103">
            <a:extLst>
              <a:ext uri="{FF2B5EF4-FFF2-40B4-BE49-F238E27FC236}">
                <a16:creationId xmlns:a16="http://schemas.microsoft.com/office/drawing/2014/main" id="{4C59FBF2-77F2-469C-B2D2-0A0393B29931}"/>
              </a:ext>
            </a:extLst>
          </p:cNvPr>
          <p:cNvSpPr txBox="1"/>
          <p:nvPr/>
        </p:nvSpPr>
        <p:spPr>
          <a:xfrm>
            <a:off x="3552778" y="5622628"/>
            <a:ext cx="288443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5" name="テキスト ボックス 104">
            <a:extLst>
              <a:ext uri="{FF2B5EF4-FFF2-40B4-BE49-F238E27FC236}">
                <a16:creationId xmlns:a16="http://schemas.microsoft.com/office/drawing/2014/main" id="{1181F8D4-14E6-43F0-89D7-5E5E97AC3ADB}"/>
              </a:ext>
            </a:extLst>
          </p:cNvPr>
          <p:cNvSpPr txBox="1"/>
          <p:nvPr/>
        </p:nvSpPr>
        <p:spPr>
          <a:xfrm>
            <a:off x="3619292" y="6269680"/>
            <a:ext cx="446338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678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6" name="テキスト ボックス 105">
            <a:extLst>
              <a:ext uri="{FF2B5EF4-FFF2-40B4-BE49-F238E27FC236}">
                <a16:creationId xmlns:a16="http://schemas.microsoft.com/office/drawing/2014/main" id="{38D9DF38-41F2-412E-84B5-9AD6586CA2DA}"/>
              </a:ext>
            </a:extLst>
          </p:cNvPr>
          <p:cNvSpPr txBox="1"/>
          <p:nvPr/>
        </p:nvSpPr>
        <p:spPr>
          <a:xfrm>
            <a:off x="4321010" y="6269680"/>
            <a:ext cx="446338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637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7" name="テキスト ボックス 106">
            <a:extLst>
              <a:ext uri="{FF2B5EF4-FFF2-40B4-BE49-F238E27FC236}">
                <a16:creationId xmlns:a16="http://schemas.microsoft.com/office/drawing/2014/main" id="{C1FC5A90-1285-41B1-BD06-AAA798AAEED1}"/>
              </a:ext>
            </a:extLst>
          </p:cNvPr>
          <p:cNvSpPr txBox="1"/>
          <p:nvPr/>
        </p:nvSpPr>
        <p:spPr>
          <a:xfrm>
            <a:off x="4992489" y="6269680"/>
            <a:ext cx="446338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336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8" name="テキスト ボックス 107">
            <a:extLst>
              <a:ext uri="{FF2B5EF4-FFF2-40B4-BE49-F238E27FC236}">
                <a16:creationId xmlns:a16="http://schemas.microsoft.com/office/drawing/2014/main" id="{44F268C8-D073-493F-82CE-D88F5E632510}"/>
              </a:ext>
            </a:extLst>
          </p:cNvPr>
          <p:cNvSpPr txBox="1"/>
          <p:nvPr/>
        </p:nvSpPr>
        <p:spPr>
          <a:xfrm>
            <a:off x="5723769" y="6269680"/>
            <a:ext cx="446338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27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9" name="テキスト ボックス 108">
            <a:extLst>
              <a:ext uri="{FF2B5EF4-FFF2-40B4-BE49-F238E27FC236}">
                <a16:creationId xmlns:a16="http://schemas.microsoft.com/office/drawing/2014/main" id="{9162F6D8-C2E3-455C-85D7-D2A23464273D}"/>
              </a:ext>
            </a:extLst>
          </p:cNvPr>
          <p:cNvSpPr txBox="1"/>
          <p:nvPr/>
        </p:nvSpPr>
        <p:spPr>
          <a:xfrm>
            <a:off x="6395249" y="6269680"/>
            <a:ext cx="446338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44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10" name="テキスト ボックス 109">
            <a:extLst>
              <a:ext uri="{FF2B5EF4-FFF2-40B4-BE49-F238E27FC236}">
                <a16:creationId xmlns:a16="http://schemas.microsoft.com/office/drawing/2014/main" id="{BFFBD941-978A-46B9-B3DA-6F92C39D5EF0}"/>
              </a:ext>
            </a:extLst>
          </p:cNvPr>
          <p:cNvSpPr txBox="1"/>
          <p:nvPr/>
        </p:nvSpPr>
        <p:spPr>
          <a:xfrm>
            <a:off x="7164312" y="6269680"/>
            <a:ext cx="360065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95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3FD09280-B51A-4379-9493-3FC8123AC1E3}"/>
              </a:ext>
            </a:extLst>
          </p:cNvPr>
          <p:cNvSpPr txBox="1"/>
          <p:nvPr/>
        </p:nvSpPr>
        <p:spPr>
          <a:xfrm>
            <a:off x="3081592" y="6023548"/>
            <a:ext cx="1502537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No. at risk</a:t>
            </a:r>
            <a:endParaRPr kumimoji="0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12" name="テキスト ボックス 111">
            <a:extLst>
              <a:ext uri="{FF2B5EF4-FFF2-40B4-BE49-F238E27FC236}">
                <a16:creationId xmlns:a16="http://schemas.microsoft.com/office/drawing/2014/main" id="{B4F6EE0D-4966-47B8-B0B6-9501E582F13A}"/>
              </a:ext>
            </a:extLst>
          </p:cNvPr>
          <p:cNvSpPr txBox="1"/>
          <p:nvPr/>
        </p:nvSpPr>
        <p:spPr>
          <a:xfrm>
            <a:off x="3694544" y="5755238"/>
            <a:ext cx="288443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13" name="テキスト ボックス 112">
            <a:extLst>
              <a:ext uri="{FF2B5EF4-FFF2-40B4-BE49-F238E27FC236}">
                <a16:creationId xmlns:a16="http://schemas.microsoft.com/office/drawing/2014/main" id="{D5C152B2-CD36-4B94-B65F-C8FE43AE041E}"/>
              </a:ext>
            </a:extLst>
          </p:cNvPr>
          <p:cNvSpPr txBox="1"/>
          <p:nvPr/>
        </p:nvSpPr>
        <p:spPr>
          <a:xfrm>
            <a:off x="4395080" y="5755647"/>
            <a:ext cx="288443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6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14" name="テキスト ボックス 113">
            <a:extLst>
              <a:ext uri="{FF2B5EF4-FFF2-40B4-BE49-F238E27FC236}">
                <a16:creationId xmlns:a16="http://schemas.microsoft.com/office/drawing/2014/main" id="{D2947415-DFEC-4C39-89F1-B33F6B3B0F07}"/>
              </a:ext>
            </a:extLst>
          </p:cNvPr>
          <p:cNvSpPr txBox="1"/>
          <p:nvPr/>
        </p:nvSpPr>
        <p:spPr>
          <a:xfrm>
            <a:off x="5733250" y="5750995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8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15" name="テキスト ボックス 114">
            <a:extLst>
              <a:ext uri="{FF2B5EF4-FFF2-40B4-BE49-F238E27FC236}">
                <a16:creationId xmlns:a16="http://schemas.microsoft.com/office/drawing/2014/main" id="{A3562BBF-5DD8-4D29-A328-CD9D6836E4FA}"/>
              </a:ext>
            </a:extLst>
          </p:cNvPr>
          <p:cNvSpPr txBox="1"/>
          <p:nvPr/>
        </p:nvSpPr>
        <p:spPr>
          <a:xfrm>
            <a:off x="6429665" y="5741355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4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16" name="テキスト ボックス 115">
            <a:extLst>
              <a:ext uri="{FF2B5EF4-FFF2-40B4-BE49-F238E27FC236}">
                <a16:creationId xmlns:a16="http://schemas.microsoft.com/office/drawing/2014/main" id="{2728A6E8-F34F-4441-A504-92544E668991}"/>
              </a:ext>
            </a:extLst>
          </p:cNvPr>
          <p:cNvSpPr txBox="1"/>
          <p:nvPr/>
        </p:nvSpPr>
        <p:spPr>
          <a:xfrm>
            <a:off x="5032023" y="5750832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2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17" name="テキスト ボックス 116">
            <a:extLst>
              <a:ext uri="{FF2B5EF4-FFF2-40B4-BE49-F238E27FC236}">
                <a16:creationId xmlns:a16="http://schemas.microsoft.com/office/drawing/2014/main" id="{68CA4CB9-F6F6-4F9F-8C71-9849B1BB591B}"/>
              </a:ext>
            </a:extLst>
          </p:cNvPr>
          <p:cNvSpPr txBox="1"/>
          <p:nvPr/>
        </p:nvSpPr>
        <p:spPr>
          <a:xfrm>
            <a:off x="7135012" y="5742188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3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18" name="テキスト ボックス 117">
            <a:extLst>
              <a:ext uri="{FF2B5EF4-FFF2-40B4-BE49-F238E27FC236}">
                <a16:creationId xmlns:a16="http://schemas.microsoft.com/office/drawing/2014/main" id="{343ED879-8B93-4AFA-B4A6-CF28C4C29009}"/>
              </a:ext>
            </a:extLst>
          </p:cNvPr>
          <p:cNvSpPr txBox="1"/>
          <p:nvPr/>
        </p:nvSpPr>
        <p:spPr>
          <a:xfrm>
            <a:off x="4835857" y="5964768"/>
            <a:ext cx="1870647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Follow-up (months)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19" name="テキスト ボックス 118">
            <a:extLst>
              <a:ext uri="{FF2B5EF4-FFF2-40B4-BE49-F238E27FC236}">
                <a16:creationId xmlns:a16="http://schemas.microsoft.com/office/drawing/2014/main" id="{A547AA2A-9581-4E2A-ACE9-858E9E220EEF}"/>
              </a:ext>
            </a:extLst>
          </p:cNvPr>
          <p:cNvSpPr txBox="1"/>
          <p:nvPr/>
        </p:nvSpPr>
        <p:spPr>
          <a:xfrm rot="16200000">
            <a:off x="2183736" y="4497503"/>
            <a:ext cx="24508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Cumulative incidence of MACE (%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120" name="図 119">
            <a:extLst>
              <a:ext uri="{FF2B5EF4-FFF2-40B4-BE49-F238E27FC236}">
                <a16:creationId xmlns:a16="http://schemas.microsoft.com/office/drawing/2014/main" id="{8E25D195-7E98-4D0B-A565-2C91BA0BC47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061" t="49604" r="4220" b="13383"/>
          <a:stretch/>
        </p:blipFill>
        <p:spPr>
          <a:xfrm>
            <a:off x="3835294" y="4689588"/>
            <a:ext cx="3882433" cy="1072235"/>
          </a:xfrm>
          <a:prstGeom prst="rect">
            <a:avLst/>
          </a:prstGeom>
        </p:spPr>
      </p:pic>
      <p:pic>
        <p:nvPicPr>
          <p:cNvPr id="121" name="図 120">
            <a:extLst>
              <a:ext uri="{FF2B5EF4-FFF2-40B4-BE49-F238E27FC236}">
                <a16:creationId xmlns:a16="http://schemas.microsoft.com/office/drawing/2014/main" id="{C0D0F5D6-DCA0-48F7-AFE5-B319F03B1EB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298" t="81278" r="4209" b="13314"/>
          <a:stretch/>
        </p:blipFill>
        <p:spPr>
          <a:xfrm>
            <a:off x="3821728" y="5549012"/>
            <a:ext cx="3898907" cy="157196"/>
          </a:xfrm>
          <a:prstGeom prst="rect">
            <a:avLst/>
          </a:prstGeom>
        </p:spPr>
      </p:pic>
      <p:pic>
        <p:nvPicPr>
          <p:cNvPr id="122" name="図 121">
            <a:extLst>
              <a:ext uri="{FF2B5EF4-FFF2-40B4-BE49-F238E27FC236}">
                <a16:creationId xmlns:a16="http://schemas.microsoft.com/office/drawing/2014/main" id="{CBD82572-2831-458F-8FF7-113C7285F8D2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405" t="84001" r="4286" b="13464"/>
          <a:stretch/>
        </p:blipFill>
        <p:spPr>
          <a:xfrm>
            <a:off x="3840105" y="5634169"/>
            <a:ext cx="3869442" cy="77321"/>
          </a:xfrm>
          <a:prstGeom prst="rect">
            <a:avLst/>
          </a:prstGeom>
        </p:spPr>
      </p:pic>
      <p:pic>
        <p:nvPicPr>
          <p:cNvPr id="123" name="図 122">
            <a:extLst>
              <a:ext uri="{FF2B5EF4-FFF2-40B4-BE49-F238E27FC236}">
                <a16:creationId xmlns:a16="http://schemas.microsoft.com/office/drawing/2014/main" id="{753806E0-D032-4556-BA02-4210841EC49B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842" t="79899" r="4274" b="13575"/>
          <a:stretch/>
        </p:blipFill>
        <p:spPr>
          <a:xfrm>
            <a:off x="3982987" y="5518021"/>
            <a:ext cx="3733835" cy="186443"/>
          </a:xfrm>
          <a:prstGeom prst="rect">
            <a:avLst/>
          </a:prstGeom>
        </p:spPr>
      </p:pic>
      <p:cxnSp>
        <p:nvCxnSpPr>
          <p:cNvPr id="124" name="直線コネクタ 123">
            <a:extLst>
              <a:ext uri="{FF2B5EF4-FFF2-40B4-BE49-F238E27FC236}">
                <a16:creationId xmlns:a16="http://schemas.microsoft.com/office/drawing/2014/main" id="{5A8F181A-CA43-48B6-A7C3-09BA0B0405A3}"/>
              </a:ext>
            </a:extLst>
          </p:cNvPr>
          <p:cNvCxnSpPr>
            <a:cxnSpLocks/>
          </p:cNvCxnSpPr>
          <p:nvPr/>
        </p:nvCxnSpPr>
        <p:spPr>
          <a:xfrm>
            <a:off x="4025963" y="3823050"/>
            <a:ext cx="438678" cy="0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テキスト ボックス 124">
            <a:extLst>
              <a:ext uri="{FF2B5EF4-FFF2-40B4-BE49-F238E27FC236}">
                <a16:creationId xmlns:a16="http://schemas.microsoft.com/office/drawing/2014/main" id="{EF06C13A-4AD8-47D0-A07B-6572513DDED8}"/>
              </a:ext>
            </a:extLst>
          </p:cNvPr>
          <p:cNvSpPr txBox="1"/>
          <p:nvPr/>
        </p:nvSpPr>
        <p:spPr>
          <a:xfrm>
            <a:off x="4481138" y="3687992"/>
            <a:ext cx="1577452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Total MACE (N=78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cxnSp>
        <p:nvCxnSpPr>
          <p:cNvPr id="126" name="直線コネクタ 125">
            <a:extLst>
              <a:ext uri="{FF2B5EF4-FFF2-40B4-BE49-F238E27FC236}">
                <a16:creationId xmlns:a16="http://schemas.microsoft.com/office/drawing/2014/main" id="{37E9FFEB-3BE5-46D1-9273-5DFB987B49EE}"/>
              </a:ext>
            </a:extLst>
          </p:cNvPr>
          <p:cNvCxnSpPr>
            <a:cxnSpLocks/>
          </p:cNvCxnSpPr>
          <p:nvPr/>
        </p:nvCxnSpPr>
        <p:spPr>
          <a:xfrm>
            <a:off x="4032859" y="4040898"/>
            <a:ext cx="438678" cy="0"/>
          </a:xfrm>
          <a:prstGeom prst="line">
            <a:avLst/>
          </a:prstGeom>
          <a:ln w="3175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テキスト ボックス 126">
            <a:extLst>
              <a:ext uri="{FF2B5EF4-FFF2-40B4-BE49-F238E27FC236}">
                <a16:creationId xmlns:a16="http://schemas.microsoft.com/office/drawing/2014/main" id="{F3682ED5-78ED-48DB-852A-33C1FDCE0D6A}"/>
              </a:ext>
            </a:extLst>
          </p:cNvPr>
          <p:cNvSpPr txBox="1"/>
          <p:nvPr/>
        </p:nvSpPr>
        <p:spPr>
          <a:xfrm>
            <a:off x="4496696" y="4179377"/>
            <a:ext cx="2212481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Cardiovascular death (N=9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cxnSp>
        <p:nvCxnSpPr>
          <p:cNvPr id="128" name="直線コネクタ 127">
            <a:extLst>
              <a:ext uri="{FF2B5EF4-FFF2-40B4-BE49-F238E27FC236}">
                <a16:creationId xmlns:a16="http://schemas.microsoft.com/office/drawing/2014/main" id="{C6FA644B-1C4E-4203-B585-3A8BD6A9C295}"/>
              </a:ext>
            </a:extLst>
          </p:cNvPr>
          <p:cNvCxnSpPr>
            <a:cxnSpLocks/>
          </p:cNvCxnSpPr>
          <p:nvPr/>
        </p:nvCxnSpPr>
        <p:spPr>
          <a:xfrm>
            <a:off x="4032859" y="4537121"/>
            <a:ext cx="438678" cy="0"/>
          </a:xfrm>
          <a:prstGeom prst="line">
            <a:avLst/>
          </a:prstGeom>
          <a:ln w="3175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テキスト ボックス 128">
            <a:extLst>
              <a:ext uri="{FF2B5EF4-FFF2-40B4-BE49-F238E27FC236}">
                <a16:creationId xmlns:a16="http://schemas.microsoft.com/office/drawing/2014/main" id="{624398F9-345F-48FD-AE6C-12FACEB9E916}"/>
              </a:ext>
            </a:extLst>
          </p:cNvPr>
          <p:cNvSpPr txBox="1"/>
          <p:nvPr/>
        </p:nvSpPr>
        <p:spPr>
          <a:xfrm>
            <a:off x="4499320" y="4403921"/>
            <a:ext cx="2197831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Myocardial infarction (N=5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cxnSp>
        <p:nvCxnSpPr>
          <p:cNvPr id="130" name="直線コネクタ 129">
            <a:extLst>
              <a:ext uri="{FF2B5EF4-FFF2-40B4-BE49-F238E27FC236}">
                <a16:creationId xmlns:a16="http://schemas.microsoft.com/office/drawing/2014/main" id="{A6D6F504-1064-4AF2-8531-5E2B6EDE32D3}"/>
              </a:ext>
            </a:extLst>
          </p:cNvPr>
          <p:cNvCxnSpPr>
            <a:cxnSpLocks/>
          </p:cNvCxnSpPr>
          <p:nvPr/>
        </p:nvCxnSpPr>
        <p:spPr>
          <a:xfrm>
            <a:off x="4032859" y="4315110"/>
            <a:ext cx="438678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テキスト ボックス 130">
            <a:extLst>
              <a:ext uri="{FF2B5EF4-FFF2-40B4-BE49-F238E27FC236}">
                <a16:creationId xmlns:a16="http://schemas.microsoft.com/office/drawing/2014/main" id="{5499EA7D-CFD6-4230-8AC9-A21CC996F607}"/>
              </a:ext>
            </a:extLst>
          </p:cNvPr>
          <p:cNvSpPr txBox="1"/>
          <p:nvPr/>
        </p:nvSpPr>
        <p:spPr>
          <a:xfrm>
            <a:off x="4496696" y="3924334"/>
            <a:ext cx="1919480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Unstable angina (N=63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cxnSp>
        <p:nvCxnSpPr>
          <p:cNvPr id="132" name="直線コネクタ 131">
            <a:extLst>
              <a:ext uri="{FF2B5EF4-FFF2-40B4-BE49-F238E27FC236}">
                <a16:creationId xmlns:a16="http://schemas.microsoft.com/office/drawing/2014/main" id="{79DF88FA-74DF-4BB2-A4F6-94EF7A29E8E2}"/>
              </a:ext>
            </a:extLst>
          </p:cNvPr>
          <p:cNvCxnSpPr>
            <a:cxnSpLocks/>
          </p:cNvCxnSpPr>
          <p:nvPr/>
        </p:nvCxnSpPr>
        <p:spPr>
          <a:xfrm>
            <a:off x="4032859" y="4778864"/>
            <a:ext cx="438678" cy="0"/>
          </a:xfrm>
          <a:prstGeom prst="line">
            <a:avLst/>
          </a:prstGeom>
          <a:ln w="31750">
            <a:solidFill>
              <a:srgbClr val="01AF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テキスト ボックス 132">
            <a:extLst>
              <a:ext uri="{FF2B5EF4-FFF2-40B4-BE49-F238E27FC236}">
                <a16:creationId xmlns:a16="http://schemas.microsoft.com/office/drawing/2014/main" id="{52FFBD1E-56D9-46BA-86C5-436D0D9D060D}"/>
              </a:ext>
            </a:extLst>
          </p:cNvPr>
          <p:cNvSpPr txBox="1"/>
          <p:nvPr/>
        </p:nvSpPr>
        <p:spPr>
          <a:xfrm>
            <a:off x="4511569" y="4639138"/>
            <a:ext cx="1995987" cy="257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Acute heart failure (N=1)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B5799344-4FEF-4CAD-8046-CA07A9FF6553}"/>
              </a:ext>
            </a:extLst>
          </p:cNvPr>
          <p:cNvSpPr txBox="1"/>
          <p:nvPr/>
        </p:nvSpPr>
        <p:spPr>
          <a:xfrm>
            <a:off x="3954272" y="3387341"/>
            <a:ext cx="3618885" cy="301252"/>
          </a:xfrm>
          <a:prstGeom prst="rect">
            <a:avLst/>
          </a:prstGeom>
          <a:solidFill>
            <a:srgbClr val="FFCCFF"/>
          </a:solidFill>
          <a:ln>
            <a:solidFill>
              <a:schemeClr val="tx1"/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Incidence of MACE in the overall cohort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62" name="テキスト ボックス 161"/>
          <p:cNvSpPr txBox="1"/>
          <p:nvPr/>
        </p:nvSpPr>
        <p:spPr>
          <a:xfrm>
            <a:off x="3093469" y="3150068"/>
            <a:ext cx="451221" cy="4864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C</a:t>
            </a:r>
            <a:endParaRPr kumimoji="1" lang="ja-JP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pic>
        <p:nvPicPr>
          <p:cNvPr id="167" name="図 166">
            <a:extLst>
              <a:ext uri="{FF2B5EF4-FFF2-40B4-BE49-F238E27FC236}">
                <a16:creationId xmlns:a16="http://schemas.microsoft.com/office/drawing/2014/main" id="{D655BA53-D845-4A92-A43A-0C7AE125E5BE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t="2743" r="3228" b="6742"/>
          <a:stretch/>
        </p:blipFill>
        <p:spPr>
          <a:xfrm>
            <a:off x="8075243" y="3331058"/>
            <a:ext cx="4109589" cy="2542890"/>
          </a:xfrm>
          <a:prstGeom prst="rect">
            <a:avLst/>
          </a:prstGeom>
        </p:spPr>
      </p:pic>
      <p:sp>
        <p:nvSpPr>
          <p:cNvPr id="169" name="テキスト ボックス 168">
            <a:extLst>
              <a:ext uri="{FF2B5EF4-FFF2-40B4-BE49-F238E27FC236}">
                <a16:creationId xmlns:a16="http://schemas.microsoft.com/office/drawing/2014/main" id="{D94CA561-5F9D-481C-BDEC-7296C9016158}"/>
              </a:ext>
            </a:extLst>
          </p:cNvPr>
          <p:cNvSpPr txBox="1"/>
          <p:nvPr/>
        </p:nvSpPr>
        <p:spPr>
          <a:xfrm>
            <a:off x="8856703" y="4530663"/>
            <a:ext cx="1645042" cy="334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Log rank P=0.19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cxnSp>
        <p:nvCxnSpPr>
          <p:cNvPr id="170" name="直線コネクタ 169">
            <a:extLst>
              <a:ext uri="{FF2B5EF4-FFF2-40B4-BE49-F238E27FC236}">
                <a16:creationId xmlns:a16="http://schemas.microsoft.com/office/drawing/2014/main" id="{8B93A3F0-B12B-4FDC-8997-495702FDED2C}"/>
              </a:ext>
            </a:extLst>
          </p:cNvPr>
          <p:cNvCxnSpPr>
            <a:cxnSpLocks/>
          </p:cNvCxnSpPr>
          <p:nvPr/>
        </p:nvCxnSpPr>
        <p:spPr>
          <a:xfrm>
            <a:off x="8528590" y="4187614"/>
            <a:ext cx="438678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直線コネクタ 170">
            <a:extLst>
              <a:ext uri="{FF2B5EF4-FFF2-40B4-BE49-F238E27FC236}">
                <a16:creationId xmlns:a16="http://schemas.microsoft.com/office/drawing/2014/main" id="{E148AB37-1DCD-432A-8083-919C13AFD60C}"/>
              </a:ext>
            </a:extLst>
          </p:cNvPr>
          <p:cNvCxnSpPr>
            <a:cxnSpLocks/>
          </p:cNvCxnSpPr>
          <p:nvPr/>
        </p:nvCxnSpPr>
        <p:spPr>
          <a:xfrm>
            <a:off x="8536385" y="3923209"/>
            <a:ext cx="438678" cy="0"/>
          </a:xfrm>
          <a:prstGeom prst="line">
            <a:avLst/>
          </a:prstGeom>
          <a:ln w="3175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テキスト ボックス 171">
            <a:extLst>
              <a:ext uri="{FF2B5EF4-FFF2-40B4-BE49-F238E27FC236}">
                <a16:creationId xmlns:a16="http://schemas.microsoft.com/office/drawing/2014/main" id="{5B26B6F7-704A-4B97-A020-225EEF0240E2}"/>
              </a:ext>
            </a:extLst>
          </p:cNvPr>
          <p:cNvSpPr txBox="1"/>
          <p:nvPr/>
        </p:nvSpPr>
        <p:spPr>
          <a:xfrm>
            <a:off x="8962267" y="3785809"/>
            <a:ext cx="1352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Male (N=248)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73" name="テキスト ボックス 172">
            <a:extLst>
              <a:ext uri="{FF2B5EF4-FFF2-40B4-BE49-F238E27FC236}">
                <a16:creationId xmlns:a16="http://schemas.microsoft.com/office/drawing/2014/main" id="{EB9DB4C0-F6A0-438F-8E9C-6137EC5C50B1}"/>
              </a:ext>
            </a:extLst>
          </p:cNvPr>
          <p:cNvSpPr txBox="1"/>
          <p:nvPr/>
        </p:nvSpPr>
        <p:spPr>
          <a:xfrm>
            <a:off x="8973276" y="4049135"/>
            <a:ext cx="15719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Female (N=438)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74" name="テキスト ボックス 173">
            <a:extLst>
              <a:ext uri="{FF2B5EF4-FFF2-40B4-BE49-F238E27FC236}">
                <a16:creationId xmlns:a16="http://schemas.microsoft.com/office/drawing/2014/main" id="{CF60ACB3-C5B3-47A4-B60F-3422E1BE1369}"/>
              </a:ext>
            </a:extLst>
          </p:cNvPr>
          <p:cNvSpPr txBox="1"/>
          <p:nvPr/>
        </p:nvSpPr>
        <p:spPr>
          <a:xfrm>
            <a:off x="8083186" y="5557249"/>
            <a:ext cx="288443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75" name="テキスト ボックス 174">
            <a:extLst>
              <a:ext uri="{FF2B5EF4-FFF2-40B4-BE49-F238E27FC236}">
                <a16:creationId xmlns:a16="http://schemas.microsoft.com/office/drawing/2014/main" id="{4A8E64CD-C1C2-48B4-AC50-4F4C99FF328C}"/>
              </a:ext>
            </a:extLst>
          </p:cNvPr>
          <p:cNvSpPr txBox="1"/>
          <p:nvPr/>
        </p:nvSpPr>
        <p:spPr>
          <a:xfrm>
            <a:off x="8224971" y="5703943"/>
            <a:ext cx="288443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76" name="テキスト ボックス 175">
            <a:extLst>
              <a:ext uri="{FF2B5EF4-FFF2-40B4-BE49-F238E27FC236}">
                <a16:creationId xmlns:a16="http://schemas.microsoft.com/office/drawing/2014/main" id="{B1229535-A733-4B5D-B8C6-FDFD9958A69B}"/>
              </a:ext>
            </a:extLst>
          </p:cNvPr>
          <p:cNvSpPr txBox="1"/>
          <p:nvPr/>
        </p:nvSpPr>
        <p:spPr>
          <a:xfrm>
            <a:off x="7994071" y="3240851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4</a:t>
            </a: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77" name="テキスト ボックス 176">
            <a:extLst>
              <a:ext uri="{FF2B5EF4-FFF2-40B4-BE49-F238E27FC236}">
                <a16:creationId xmlns:a16="http://schemas.microsoft.com/office/drawing/2014/main" id="{1E577668-9737-4761-9FCC-58C2F32A29E4}"/>
              </a:ext>
            </a:extLst>
          </p:cNvPr>
          <p:cNvSpPr txBox="1"/>
          <p:nvPr/>
        </p:nvSpPr>
        <p:spPr>
          <a:xfrm>
            <a:off x="8000769" y="3795722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3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78" name="テキスト ボックス 177">
            <a:extLst>
              <a:ext uri="{FF2B5EF4-FFF2-40B4-BE49-F238E27FC236}">
                <a16:creationId xmlns:a16="http://schemas.microsoft.com/office/drawing/2014/main" id="{99A414C1-355A-4AC5-8D8A-C0AE95D9F24F}"/>
              </a:ext>
            </a:extLst>
          </p:cNvPr>
          <p:cNvSpPr txBox="1"/>
          <p:nvPr/>
        </p:nvSpPr>
        <p:spPr>
          <a:xfrm>
            <a:off x="7984016" y="4974317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79" name="テキスト ボックス 178">
            <a:extLst>
              <a:ext uri="{FF2B5EF4-FFF2-40B4-BE49-F238E27FC236}">
                <a16:creationId xmlns:a16="http://schemas.microsoft.com/office/drawing/2014/main" id="{9DC128AF-426A-4C3C-83BE-4F458EFA9872}"/>
              </a:ext>
            </a:extLst>
          </p:cNvPr>
          <p:cNvSpPr txBox="1"/>
          <p:nvPr/>
        </p:nvSpPr>
        <p:spPr>
          <a:xfrm>
            <a:off x="8000466" y="4375255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82" name="テキスト ボックス 181">
            <a:extLst>
              <a:ext uri="{FF2B5EF4-FFF2-40B4-BE49-F238E27FC236}">
                <a16:creationId xmlns:a16="http://schemas.microsoft.com/office/drawing/2014/main" id="{CF377650-D076-42D7-B34F-B8D7774DF3F5}"/>
              </a:ext>
            </a:extLst>
          </p:cNvPr>
          <p:cNvSpPr txBox="1"/>
          <p:nvPr/>
        </p:nvSpPr>
        <p:spPr>
          <a:xfrm>
            <a:off x="8905959" y="5708944"/>
            <a:ext cx="288443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6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83" name="テキスト ボックス 182">
            <a:extLst>
              <a:ext uri="{FF2B5EF4-FFF2-40B4-BE49-F238E27FC236}">
                <a16:creationId xmlns:a16="http://schemas.microsoft.com/office/drawing/2014/main" id="{77992733-30F0-4F41-9C47-1F8E8A701687}"/>
              </a:ext>
            </a:extLst>
          </p:cNvPr>
          <p:cNvSpPr txBox="1"/>
          <p:nvPr/>
        </p:nvSpPr>
        <p:spPr>
          <a:xfrm>
            <a:off x="10211386" y="5700333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8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84" name="テキスト ボックス 183">
            <a:extLst>
              <a:ext uri="{FF2B5EF4-FFF2-40B4-BE49-F238E27FC236}">
                <a16:creationId xmlns:a16="http://schemas.microsoft.com/office/drawing/2014/main" id="{44650279-BE99-4149-8FE8-BB1CE6FB67AB}"/>
              </a:ext>
            </a:extLst>
          </p:cNvPr>
          <p:cNvSpPr txBox="1"/>
          <p:nvPr/>
        </p:nvSpPr>
        <p:spPr>
          <a:xfrm>
            <a:off x="10877285" y="5692285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4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85" name="テキスト ボックス 184">
            <a:extLst>
              <a:ext uri="{FF2B5EF4-FFF2-40B4-BE49-F238E27FC236}">
                <a16:creationId xmlns:a16="http://schemas.microsoft.com/office/drawing/2014/main" id="{5B45A88D-D294-4904-A9D9-A9078FEDA7AF}"/>
              </a:ext>
            </a:extLst>
          </p:cNvPr>
          <p:cNvSpPr txBox="1"/>
          <p:nvPr/>
        </p:nvSpPr>
        <p:spPr>
          <a:xfrm>
            <a:off x="9524946" y="5702420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2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86" name="テキスト ボックス 185">
            <a:extLst>
              <a:ext uri="{FF2B5EF4-FFF2-40B4-BE49-F238E27FC236}">
                <a16:creationId xmlns:a16="http://schemas.microsoft.com/office/drawing/2014/main" id="{2CAED159-D9E3-4183-BD2B-F75EEEE1A171}"/>
              </a:ext>
            </a:extLst>
          </p:cNvPr>
          <p:cNvSpPr txBox="1"/>
          <p:nvPr/>
        </p:nvSpPr>
        <p:spPr>
          <a:xfrm>
            <a:off x="11569853" y="5696151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3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87" name="テキスト ボックス 186">
            <a:extLst>
              <a:ext uri="{FF2B5EF4-FFF2-40B4-BE49-F238E27FC236}">
                <a16:creationId xmlns:a16="http://schemas.microsoft.com/office/drawing/2014/main" id="{38D3F581-3673-4386-90CC-5FF7C37C5872}"/>
              </a:ext>
            </a:extLst>
          </p:cNvPr>
          <p:cNvSpPr txBox="1"/>
          <p:nvPr/>
        </p:nvSpPr>
        <p:spPr>
          <a:xfrm>
            <a:off x="9309274" y="5883728"/>
            <a:ext cx="1870647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Follow-up (months)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88" name="テキスト ボックス 187">
            <a:extLst>
              <a:ext uri="{FF2B5EF4-FFF2-40B4-BE49-F238E27FC236}">
                <a16:creationId xmlns:a16="http://schemas.microsoft.com/office/drawing/2014/main" id="{7781C076-6A8D-4772-BFEF-3478DF1B6F71}"/>
              </a:ext>
            </a:extLst>
          </p:cNvPr>
          <p:cNvSpPr txBox="1"/>
          <p:nvPr/>
        </p:nvSpPr>
        <p:spPr>
          <a:xfrm>
            <a:off x="7306746" y="5874786"/>
            <a:ext cx="1502537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No. at risk</a:t>
            </a:r>
            <a:endParaRPr kumimoji="0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89" name="テキスト ボックス 188">
            <a:extLst>
              <a:ext uri="{FF2B5EF4-FFF2-40B4-BE49-F238E27FC236}">
                <a16:creationId xmlns:a16="http://schemas.microsoft.com/office/drawing/2014/main" id="{C83C51D7-82EC-4109-8619-2291ACCF63AF}"/>
              </a:ext>
            </a:extLst>
          </p:cNvPr>
          <p:cNvSpPr txBox="1"/>
          <p:nvPr/>
        </p:nvSpPr>
        <p:spPr>
          <a:xfrm>
            <a:off x="7695735" y="6072507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Male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0" name="テキスト ボックス 189">
            <a:extLst>
              <a:ext uri="{FF2B5EF4-FFF2-40B4-BE49-F238E27FC236}">
                <a16:creationId xmlns:a16="http://schemas.microsoft.com/office/drawing/2014/main" id="{259A63AD-FCA4-4B42-A601-A6FD2E43A110}"/>
              </a:ext>
            </a:extLst>
          </p:cNvPr>
          <p:cNvSpPr txBox="1"/>
          <p:nvPr/>
        </p:nvSpPr>
        <p:spPr>
          <a:xfrm>
            <a:off x="7523485" y="6294293"/>
            <a:ext cx="814217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Female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1" name="テキスト ボックス 190">
            <a:extLst>
              <a:ext uri="{FF2B5EF4-FFF2-40B4-BE49-F238E27FC236}">
                <a16:creationId xmlns:a16="http://schemas.microsoft.com/office/drawing/2014/main" id="{F6CC4FAB-9EB0-4EC0-BA38-FA29AA02D36C}"/>
              </a:ext>
            </a:extLst>
          </p:cNvPr>
          <p:cNvSpPr txBox="1"/>
          <p:nvPr/>
        </p:nvSpPr>
        <p:spPr>
          <a:xfrm>
            <a:off x="8200129" y="6072507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48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2" name="テキスト ボックス 191">
            <a:extLst>
              <a:ext uri="{FF2B5EF4-FFF2-40B4-BE49-F238E27FC236}">
                <a16:creationId xmlns:a16="http://schemas.microsoft.com/office/drawing/2014/main" id="{15237BED-CBCF-472E-8132-B99488E448C1}"/>
              </a:ext>
            </a:extLst>
          </p:cNvPr>
          <p:cNvSpPr txBox="1"/>
          <p:nvPr/>
        </p:nvSpPr>
        <p:spPr>
          <a:xfrm>
            <a:off x="8828209" y="6083781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38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3" name="テキスト ボックス 192">
            <a:extLst>
              <a:ext uri="{FF2B5EF4-FFF2-40B4-BE49-F238E27FC236}">
                <a16:creationId xmlns:a16="http://schemas.microsoft.com/office/drawing/2014/main" id="{F47984F8-37DB-4090-8489-F6A039FC94C5}"/>
              </a:ext>
            </a:extLst>
          </p:cNvPr>
          <p:cNvSpPr txBox="1"/>
          <p:nvPr/>
        </p:nvSpPr>
        <p:spPr>
          <a:xfrm>
            <a:off x="9517771" y="6096794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16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4" name="テキスト ボックス 193">
            <a:extLst>
              <a:ext uri="{FF2B5EF4-FFF2-40B4-BE49-F238E27FC236}">
                <a16:creationId xmlns:a16="http://schemas.microsoft.com/office/drawing/2014/main" id="{BFB1B8A7-96F5-4870-95D0-86D70D9DAE92}"/>
              </a:ext>
            </a:extLst>
          </p:cNvPr>
          <p:cNvSpPr txBox="1"/>
          <p:nvPr/>
        </p:nvSpPr>
        <p:spPr>
          <a:xfrm>
            <a:off x="10207015" y="6094779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20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5" name="テキスト ボックス 194">
            <a:extLst>
              <a:ext uri="{FF2B5EF4-FFF2-40B4-BE49-F238E27FC236}">
                <a16:creationId xmlns:a16="http://schemas.microsoft.com/office/drawing/2014/main" id="{166B0D82-E601-49B3-9F11-E146B954270B}"/>
              </a:ext>
            </a:extLst>
          </p:cNvPr>
          <p:cNvSpPr txBox="1"/>
          <p:nvPr/>
        </p:nvSpPr>
        <p:spPr>
          <a:xfrm>
            <a:off x="10927680" y="6096794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90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6" name="テキスト ボックス 195">
            <a:extLst>
              <a:ext uri="{FF2B5EF4-FFF2-40B4-BE49-F238E27FC236}">
                <a16:creationId xmlns:a16="http://schemas.microsoft.com/office/drawing/2014/main" id="{05678462-5F0E-4051-AD5C-ADA9C6602CA0}"/>
              </a:ext>
            </a:extLst>
          </p:cNvPr>
          <p:cNvSpPr txBox="1"/>
          <p:nvPr/>
        </p:nvSpPr>
        <p:spPr>
          <a:xfrm>
            <a:off x="11599980" y="6094398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59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7" name="テキスト ボックス 196">
            <a:extLst>
              <a:ext uri="{FF2B5EF4-FFF2-40B4-BE49-F238E27FC236}">
                <a16:creationId xmlns:a16="http://schemas.microsoft.com/office/drawing/2014/main" id="{FCDE36D7-7342-41BC-A644-75D1FC6B1FC5}"/>
              </a:ext>
            </a:extLst>
          </p:cNvPr>
          <p:cNvSpPr txBox="1"/>
          <p:nvPr/>
        </p:nvSpPr>
        <p:spPr>
          <a:xfrm>
            <a:off x="8121178" y="6295027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430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8" name="テキスト ボックス 197">
            <a:extLst>
              <a:ext uri="{FF2B5EF4-FFF2-40B4-BE49-F238E27FC236}">
                <a16:creationId xmlns:a16="http://schemas.microsoft.com/office/drawing/2014/main" id="{6547D4C2-A14E-4D0E-BF10-9E31A376553E}"/>
              </a:ext>
            </a:extLst>
          </p:cNvPr>
          <p:cNvSpPr txBox="1"/>
          <p:nvPr/>
        </p:nvSpPr>
        <p:spPr>
          <a:xfrm>
            <a:off x="8757762" y="6295027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405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99" name="テキスト ボックス 198">
            <a:extLst>
              <a:ext uri="{FF2B5EF4-FFF2-40B4-BE49-F238E27FC236}">
                <a16:creationId xmlns:a16="http://schemas.microsoft.com/office/drawing/2014/main" id="{A2DDB53D-49E4-46C4-9FB9-4770D854058D}"/>
              </a:ext>
            </a:extLst>
          </p:cNvPr>
          <p:cNvSpPr txBox="1"/>
          <p:nvPr/>
        </p:nvSpPr>
        <p:spPr>
          <a:xfrm>
            <a:off x="9455293" y="6295027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351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00" name="テキスト ボックス 199">
            <a:extLst>
              <a:ext uri="{FF2B5EF4-FFF2-40B4-BE49-F238E27FC236}">
                <a16:creationId xmlns:a16="http://schemas.microsoft.com/office/drawing/2014/main" id="{1F1FD1A1-7CFC-4AAC-AE42-352BB85F9E25}"/>
              </a:ext>
            </a:extLst>
          </p:cNvPr>
          <p:cNvSpPr txBox="1"/>
          <p:nvPr/>
        </p:nvSpPr>
        <p:spPr>
          <a:xfrm>
            <a:off x="10138758" y="6295027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33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01" name="テキスト ボックス 200">
            <a:extLst>
              <a:ext uri="{FF2B5EF4-FFF2-40B4-BE49-F238E27FC236}">
                <a16:creationId xmlns:a16="http://schemas.microsoft.com/office/drawing/2014/main" id="{D7E18CF1-06D3-4614-8F23-6E39CCBCED0B}"/>
              </a:ext>
            </a:extLst>
          </p:cNvPr>
          <p:cNvSpPr txBox="1"/>
          <p:nvPr/>
        </p:nvSpPr>
        <p:spPr>
          <a:xfrm>
            <a:off x="10819199" y="6295027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03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02" name="テキスト ボックス 201">
            <a:extLst>
              <a:ext uri="{FF2B5EF4-FFF2-40B4-BE49-F238E27FC236}">
                <a16:creationId xmlns:a16="http://schemas.microsoft.com/office/drawing/2014/main" id="{AF8B5F91-D90E-40F0-87AB-B1371882B1F5}"/>
              </a:ext>
            </a:extLst>
          </p:cNvPr>
          <p:cNvSpPr txBox="1"/>
          <p:nvPr/>
        </p:nvSpPr>
        <p:spPr>
          <a:xfrm>
            <a:off x="11496810" y="6295027"/>
            <a:ext cx="591211" cy="257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59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09" name="テキスト ボックス 208">
            <a:extLst>
              <a:ext uri="{FF2B5EF4-FFF2-40B4-BE49-F238E27FC236}">
                <a16:creationId xmlns:a16="http://schemas.microsoft.com/office/drawing/2014/main" id="{94A240A7-0EBD-4592-9EAC-20671DF33ECD}"/>
              </a:ext>
            </a:extLst>
          </p:cNvPr>
          <p:cNvSpPr txBox="1"/>
          <p:nvPr/>
        </p:nvSpPr>
        <p:spPr>
          <a:xfrm>
            <a:off x="8411744" y="3420008"/>
            <a:ext cx="3692204" cy="301252"/>
          </a:xfrm>
          <a:prstGeom prst="rect">
            <a:avLst/>
          </a:prstGeom>
          <a:solidFill>
            <a:srgbClr val="FFCCFF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Sex difference in the incidence of MACE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63" name="テキスト ボックス 162"/>
          <p:cNvSpPr txBox="1"/>
          <p:nvPr/>
        </p:nvSpPr>
        <p:spPr>
          <a:xfrm>
            <a:off x="7719376" y="3121728"/>
            <a:ext cx="451221" cy="4864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D</a:t>
            </a:r>
            <a:endParaRPr kumimoji="1" lang="ja-JP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29" name="テキスト ボックス 1028">
            <a:extLst>
              <a:ext uri="{FF2B5EF4-FFF2-40B4-BE49-F238E27FC236}">
                <a16:creationId xmlns:a16="http://schemas.microsoft.com/office/drawing/2014/main" id="{DE801875-7A64-46AF-A815-5AB9CC53C566}"/>
              </a:ext>
            </a:extLst>
          </p:cNvPr>
          <p:cNvSpPr txBox="1"/>
          <p:nvPr/>
        </p:nvSpPr>
        <p:spPr>
          <a:xfrm>
            <a:off x="91245" y="3561308"/>
            <a:ext cx="884211" cy="4292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Physical 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limitation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10" name="テキスト ボックス 209">
            <a:extLst>
              <a:ext uri="{FF2B5EF4-FFF2-40B4-BE49-F238E27FC236}">
                <a16:creationId xmlns:a16="http://schemas.microsoft.com/office/drawing/2014/main" id="{4C4B002C-C0DE-45A5-B218-CEB85C64CF36}"/>
              </a:ext>
            </a:extLst>
          </p:cNvPr>
          <p:cNvSpPr txBox="1"/>
          <p:nvPr/>
        </p:nvSpPr>
        <p:spPr>
          <a:xfrm>
            <a:off x="611976" y="3238134"/>
            <a:ext cx="2481066" cy="31478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ex differences in SAQ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215" name="グラフ 214">
            <a:extLst>
              <a:ext uri="{FF2B5EF4-FFF2-40B4-BE49-F238E27FC236}">
                <a16:creationId xmlns:a16="http://schemas.microsoft.com/office/drawing/2014/main" id="{3ADE8856-0E9F-4F96-9A2E-5124B3673BB7}"/>
              </a:ext>
            </a:extLst>
          </p:cNvPr>
          <p:cNvGraphicFramePr/>
          <p:nvPr>
            <p:extLst/>
          </p:nvPr>
        </p:nvGraphicFramePr>
        <p:xfrm>
          <a:off x="769521" y="3418419"/>
          <a:ext cx="2216322" cy="2542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17" name="テキスト ボックス 216">
            <a:extLst>
              <a:ext uri="{FF2B5EF4-FFF2-40B4-BE49-F238E27FC236}">
                <a16:creationId xmlns:a16="http://schemas.microsoft.com/office/drawing/2014/main" id="{A1786CB7-9ECA-4797-9C5A-5F77FE292F6E}"/>
              </a:ext>
            </a:extLst>
          </p:cNvPr>
          <p:cNvSpPr txBox="1"/>
          <p:nvPr/>
        </p:nvSpPr>
        <p:spPr>
          <a:xfrm>
            <a:off x="167561" y="4002529"/>
            <a:ext cx="778406" cy="4292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Angina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stability</a:t>
            </a:r>
          </a:p>
        </p:txBody>
      </p:sp>
      <p:sp>
        <p:nvSpPr>
          <p:cNvPr id="218" name="テキスト ボックス 217">
            <a:extLst>
              <a:ext uri="{FF2B5EF4-FFF2-40B4-BE49-F238E27FC236}">
                <a16:creationId xmlns:a16="http://schemas.microsoft.com/office/drawing/2014/main" id="{E1FFFE68-541D-4D37-80F6-02F1013DC1CE}"/>
              </a:ext>
            </a:extLst>
          </p:cNvPr>
          <p:cNvSpPr txBox="1"/>
          <p:nvPr/>
        </p:nvSpPr>
        <p:spPr>
          <a:xfrm>
            <a:off x="21760" y="4470061"/>
            <a:ext cx="933044" cy="4292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Angina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frequency</a:t>
            </a:r>
          </a:p>
        </p:txBody>
      </p:sp>
      <p:sp>
        <p:nvSpPr>
          <p:cNvPr id="219" name="テキスト ボックス 218">
            <a:extLst>
              <a:ext uri="{FF2B5EF4-FFF2-40B4-BE49-F238E27FC236}">
                <a16:creationId xmlns:a16="http://schemas.microsoft.com/office/drawing/2014/main" id="{9027994E-C0B2-41FF-8EE7-6144A4FF9717}"/>
              </a:ext>
            </a:extLst>
          </p:cNvPr>
          <p:cNvSpPr txBox="1"/>
          <p:nvPr/>
        </p:nvSpPr>
        <p:spPr>
          <a:xfrm>
            <a:off x="-78466" y="4949765"/>
            <a:ext cx="1055129" cy="4292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Treatment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satisfaction</a:t>
            </a:r>
          </a:p>
        </p:txBody>
      </p:sp>
      <p:sp>
        <p:nvSpPr>
          <p:cNvPr id="220" name="テキスト ボックス 219">
            <a:extLst>
              <a:ext uri="{FF2B5EF4-FFF2-40B4-BE49-F238E27FC236}">
                <a16:creationId xmlns:a16="http://schemas.microsoft.com/office/drawing/2014/main" id="{F80F36C2-0C46-4256-BA92-71D58755CBE8}"/>
              </a:ext>
            </a:extLst>
          </p:cNvPr>
          <p:cNvSpPr txBox="1"/>
          <p:nvPr/>
        </p:nvSpPr>
        <p:spPr>
          <a:xfrm>
            <a:off x="-32854" y="5382529"/>
            <a:ext cx="986762" cy="4292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Disease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perception</a:t>
            </a:r>
          </a:p>
        </p:txBody>
      </p:sp>
      <p:cxnSp>
        <p:nvCxnSpPr>
          <p:cNvPr id="1033" name="直線コネクタ 1032">
            <a:extLst>
              <a:ext uri="{FF2B5EF4-FFF2-40B4-BE49-F238E27FC236}">
                <a16:creationId xmlns:a16="http://schemas.microsoft.com/office/drawing/2014/main" id="{E1D5189B-D31F-4C2B-96B1-667356036B21}"/>
              </a:ext>
            </a:extLst>
          </p:cNvPr>
          <p:cNvCxnSpPr>
            <a:cxnSpLocks/>
          </p:cNvCxnSpPr>
          <p:nvPr/>
        </p:nvCxnSpPr>
        <p:spPr>
          <a:xfrm>
            <a:off x="2800194" y="3701136"/>
            <a:ext cx="0" cy="13164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直線コネクタ 225">
            <a:extLst>
              <a:ext uri="{FF2B5EF4-FFF2-40B4-BE49-F238E27FC236}">
                <a16:creationId xmlns:a16="http://schemas.microsoft.com/office/drawing/2014/main" id="{24D14276-C1B4-4170-800A-DE01E79CA386}"/>
              </a:ext>
            </a:extLst>
          </p:cNvPr>
          <p:cNvCxnSpPr>
            <a:cxnSpLocks/>
          </p:cNvCxnSpPr>
          <p:nvPr/>
        </p:nvCxnSpPr>
        <p:spPr>
          <a:xfrm flipH="1">
            <a:off x="2601726" y="3697720"/>
            <a:ext cx="20625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直線コネクタ 227">
            <a:extLst>
              <a:ext uri="{FF2B5EF4-FFF2-40B4-BE49-F238E27FC236}">
                <a16:creationId xmlns:a16="http://schemas.microsoft.com/office/drawing/2014/main" id="{D096D0F2-CDEF-4DA5-AFBD-702491840A6C}"/>
              </a:ext>
            </a:extLst>
          </p:cNvPr>
          <p:cNvCxnSpPr>
            <a:cxnSpLocks/>
          </p:cNvCxnSpPr>
          <p:nvPr/>
        </p:nvCxnSpPr>
        <p:spPr>
          <a:xfrm flipH="1" flipV="1">
            <a:off x="2348757" y="3826495"/>
            <a:ext cx="456248" cy="187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直線コネクタ 228">
            <a:extLst>
              <a:ext uri="{FF2B5EF4-FFF2-40B4-BE49-F238E27FC236}">
                <a16:creationId xmlns:a16="http://schemas.microsoft.com/office/drawing/2014/main" id="{CD423A69-B085-4310-B21F-608E93818625}"/>
              </a:ext>
            </a:extLst>
          </p:cNvPr>
          <p:cNvCxnSpPr>
            <a:cxnSpLocks/>
          </p:cNvCxnSpPr>
          <p:nvPr/>
        </p:nvCxnSpPr>
        <p:spPr>
          <a:xfrm>
            <a:off x="2348757" y="4151198"/>
            <a:ext cx="0" cy="13164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直線コネクタ 229">
            <a:extLst>
              <a:ext uri="{FF2B5EF4-FFF2-40B4-BE49-F238E27FC236}">
                <a16:creationId xmlns:a16="http://schemas.microsoft.com/office/drawing/2014/main" id="{B72C481F-0E5F-42FC-952B-EB183044924B}"/>
              </a:ext>
            </a:extLst>
          </p:cNvPr>
          <p:cNvCxnSpPr>
            <a:cxnSpLocks/>
          </p:cNvCxnSpPr>
          <p:nvPr/>
        </p:nvCxnSpPr>
        <p:spPr>
          <a:xfrm flipH="1">
            <a:off x="2142506" y="4160174"/>
            <a:ext cx="20625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直線コネクタ 230">
            <a:extLst>
              <a:ext uri="{FF2B5EF4-FFF2-40B4-BE49-F238E27FC236}">
                <a16:creationId xmlns:a16="http://schemas.microsoft.com/office/drawing/2014/main" id="{2CC2667F-CBDC-4CD5-8C90-C60FE83D26F6}"/>
              </a:ext>
            </a:extLst>
          </p:cNvPr>
          <p:cNvCxnSpPr>
            <a:cxnSpLocks/>
          </p:cNvCxnSpPr>
          <p:nvPr/>
        </p:nvCxnSpPr>
        <p:spPr>
          <a:xfrm flipH="1">
            <a:off x="1976836" y="4278435"/>
            <a:ext cx="376733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直線コネクタ 231">
            <a:extLst>
              <a:ext uri="{FF2B5EF4-FFF2-40B4-BE49-F238E27FC236}">
                <a16:creationId xmlns:a16="http://schemas.microsoft.com/office/drawing/2014/main" id="{53BF25C6-6B64-4D97-8085-3DFE3FD9554D}"/>
              </a:ext>
            </a:extLst>
          </p:cNvPr>
          <p:cNvCxnSpPr>
            <a:cxnSpLocks/>
          </p:cNvCxnSpPr>
          <p:nvPr/>
        </p:nvCxnSpPr>
        <p:spPr>
          <a:xfrm>
            <a:off x="2737025" y="4593371"/>
            <a:ext cx="0" cy="13164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直線コネクタ 232">
            <a:extLst>
              <a:ext uri="{FF2B5EF4-FFF2-40B4-BE49-F238E27FC236}">
                <a16:creationId xmlns:a16="http://schemas.microsoft.com/office/drawing/2014/main" id="{4F48AD95-B9CE-4F8E-9F16-D6EDCD57A18A}"/>
              </a:ext>
            </a:extLst>
          </p:cNvPr>
          <p:cNvCxnSpPr>
            <a:cxnSpLocks/>
          </p:cNvCxnSpPr>
          <p:nvPr/>
        </p:nvCxnSpPr>
        <p:spPr>
          <a:xfrm flipH="1">
            <a:off x="2530773" y="4602347"/>
            <a:ext cx="20625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直線コネクタ 233">
            <a:extLst>
              <a:ext uri="{FF2B5EF4-FFF2-40B4-BE49-F238E27FC236}">
                <a16:creationId xmlns:a16="http://schemas.microsoft.com/office/drawing/2014/main" id="{48E4D67B-2A58-4677-AE9B-F3B78379A8B4}"/>
              </a:ext>
            </a:extLst>
          </p:cNvPr>
          <p:cNvCxnSpPr>
            <a:cxnSpLocks/>
          </p:cNvCxnSpPr>
          <p:nvPr/>
        </p:nvCxnSpPr>
        <p:spPr>
          <a:xfrm flipH="1">
            <a:off x="2429076" y="4720608"/>
            <a:ext cx="312760" cy="440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直線コネクタ 234">
            <a:extLst>
              <a:ext uri="{FF2B5EF4-FFF2-40B4-BE49-F238E27FC236}">
                <a16:creationId xmlns:a16="http://schemas.microsoft.com/office/drawing/2014/main" id="{72C6369E-A422-4BB8-B9B4-4F5297CF74B1}"/>
              </a:ext>
            </a:extLst>
          </p:cNvPr>
          <p:cNvCxnSpPr>
            <a:cxnSpLocks/>
          </p:cNvCxnSpPr>
          <p:nvPr/>
        </p:nvCxnSpPr>
        <p:spPr>
          <a:xfrm>
            <a:off x="2736400" y="5068670"/>
            <a:ext cx="0" cy="13164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直線コネクタ 235">
            <a:extLst>
              <a:ext uri="{FF2B5EF4-FFF2-40B4-BE49-F238E27FC236}">
                <a16:creationId xmlns:a16="http://schemas.microsoft.com/office/drawing/2014/main" id="{D534EFA4-50A4-404B-8472-3E849AB7AED7}"/>
              </a:ext>
            </a:extLst>
          </p:cNvPr>
          <p:cNvCxnSpPr>
            <a:cxnSpLocks/>
          </p:cNvCxnSpPr>
          <p:nvPr/>
        </p:nvCxnSpPr>
        <p:spPr>
          <a:xfrm flipH="1">
            <a:off x="2530149" y="5077647"/>
            <a:ext cx="20625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直線コネクタ 236">
            <a:extLst>
              <a:ext uri="{FF2B5EF4-FFF2-40B4-BE49-F238E27FC236}">
                <a16:creationId xmlns:a16="http://schemas.microsoft.com/office/drawing/2014/main" id="{5313B2D9-255D-42B4-A50D-31753C90B898}"/>
              </a:ext>
            </a:extLst>
          </p:cNvPr>
          <p:cNvCxnSpPr>
            <a:cxnSpLocks/>
          </p:cNvCxnSpPr>
          <p:nvPr/>
        </p:nvCxnSpPr>
        <p:spPr>
          <a:xfrm flipH="1">
            <a:off x="2429076" y="5195908"/>
            <a:ext cx="312135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直線コネクタ 241">
            <a:extLst>
              <a:ext uri="{FF2B5EF4-FFF2-40B4-BE49-F238E27FC236}">
                <a16:creationId xmlns:a16="http://schemas.microsoft.com/office/drawing/2014/main" id="{8E020A58-1B85-48D8-AE9D-AE52A92512BC}"/>
              </a:ext>
            </a:extLst>
          </p:cNvPr>
          <p:cNvCxnSpPr>
            <a:cxnSpLocks/>
          </p:cNvCxnSpPr>
          <p:nvPr/>
        </p:nvCxnSpPr>
        <p:spPr>
          <a:xfrm>
            <a:off x="2150768" y="5542104"/>
            <a:ext cx="0" cy="13164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直線コネクタ 242">
            <a:extLst>
              <a:ext uri="{FF2B5EF4-FFF2-40B4-BE49-F238E27FC236}">
                <a16:creationId xmlns:a16="http://schemas.microsoft.com/office/drawing/2014/main" id="{746CCECF-3B98-4179-97B5-ABDE9D7D6FEE}"/>
              </a:ext>
            </a:extLst>
          </p:cNvPr>
          <p:cNvCxnSpPr>
            <a:cxnSpLocks/>
          </p:cNvCxnSpPr>
          <p:nvPr/>
        </p:nvCxnSpPr>
        <p:spPr>
          <a:xfrm flipH="1">
            <a:off x="1944517" y="5551081"/>
            <a:ext cx="20625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直線コネクタ 243">
            <a:extLst>
              <a:ext uri="{FF2B5EF4-FFF2-40B4-BE49-F238E27FC236}">
                <a16:creationId xmlns:a16="http://schemas.microsoft.com/office/drawing/2014/main" id="{13F9DF25-E028-4BBF-A721-6911E84D9314}"/>
              </a:ext>
            </a:extLst>
          </p:cNvPr>
          <p:cNvCxnSpPr>
            <a:cxnSpLocks/>
          </p:cNvCxnSpPr>
          <p:nvPr/>
        </p:nvCxnSpPr>
        <p:spPr>
          <a:xfrm flipH="1">
            <a:off x="1837315" y="5669342"/>
            <a:ext cx="318265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テキスト ボックス 247">
            <a:extLst>
              <a:ext uri="{FF2B5EF4-FFF2-40B4-BE49-F238E27FC236}">
                <a16:creationId xmlns:a16="http://schemas.microsoft.com/office/drawing/2014/main" id="{D06CE219-8C2F-4145-B885-B5760D129C08}"/>
              </a:ext>
            </a:extLst>
          </p:cNvPr>
          <p:cNvSpPr txBox="1"/>
          <p:nvPr/>
        </p:nvSpPr>
        <p:spPr>
          <a:xfrm>
            <a:off x="1600445" y="6035782"/>
            <a:ext cx="12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SAQ score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49" name="テキスト ボックス 248">
            <a:extLst>
              <a:ext uri="{FF2B5EF4-FFF2-40B4-BE49-F238E27FC236}">
                <a16:creationId xmlns:a16="http://schemas.microsoft.com/office/drawing/2014/main" id="{BD6554CD-70BA-477A-A529-BA2C3872FCA5}"/>
              </a:ext>
            </a:extLst>
          </p:cNvPr>
          <p:cNvSpPr txBox="1"/>
          <p:nvPr/>
        </p:nvSpPr>
        <p:spPr>
          <a:xfrm>
            <a:off x="803551" y="5775440"/>
            <a:ext cx="288443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50" name="テキスト ボックス 249">
            <a:extLst>
              <a:ext uri="{FF2B5EF4-FFF2-40B4-BE49-F238E27FC236}">
                <a16:creationId xmlns:a16="http://schemas.microsoft.com/office/drawing/2014/main" id="{B790FD18-83BC-4982-BCB5-BC8B8413D3CE}"/>
              </a:ext>
            </a:extLst>
          </p:cNvPr>
          <p:cNvSpPr txBox="1"/>
          <p:nvPr/>
        </p:nvSpPr>
        <p:spPr>
          <a:xfrm>
            <a:off x="1128474" y="5775440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2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51" name="テキスト ボックス 250">
            <a:extLst>
              <a:ext uri="{FF2B5EF4-FFF2-40B4-BE49-F238E27FC236}">
                <a16:creationId xmlns:a16="http://schemas.microsoft.com/office/drawing/2014/main" id="{56F8C1E0-75AA-4880-B77B-79168052D4C9}"/>
              </a:ext>
            </a:extLst>
          </p:cNvPr>
          <p:cNvSpPr txBox="1"/>
          <p:nvPr/>
        </p:nvSpPr>
        <p:spPr>
          <a:xfrm>
            <a:off x="1543830" y="5775440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4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52" name="テキスト ボックス 251">
            <a:extLst>
              <a:ext uri="{FF2B5EF4-FFF2-40B4-BE49-F238E27FC236}">
                <a16:creationId xmlns:a16="http://schemas.microsoft.com/office/drawing/2014/main" id="{E07E2353-A0F8-4348-8FC1-FA409E0CE52F}"/>
              </a:ext>
            </a:extLst>
          </p:cNvPr>
          <p:cNvSpPr txBox="1"/>
          <p:nvPr/>
        </p:nvSpPr>
        <p:spPr>
          <a:xfrm>
            <a:off x="1932460" y="5775440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6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53" name="テキスト ボックス 252">
            <a:extLst>
              <a:ext uri="{FF2B5EF4-FFF2-40B4-BE49-F238E27FC236}">
                <a16:creationId xmlns:a16="http://schemas.microsoft.com/office/drawing/2014/main" id="{4DBC0A3E-9797-45C9-99FB-21CF819D3D08}"/>
              </a:ext>
            </a:extLst>
          </p:cNvPr>
          <p:cNvSpPr txBox="1"/>
          <p:nvPr/>
        </p:nvSpPr>
        <p:spPr>
          <a:xfrm>
            <a:off x="2335612" y="5775440"/>
            <a:ext cx="389365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8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54" name="テキスト ボックス 253">
            <a:extLst>
              <a:ext uri="{FF2B5EF4-FFF2-40B4-BE49-F238E27FC236}">
                <a16:creationId xmlns:a16="http://schemas.microsoft.com/office/drawing/2014/main" id="{30DD825E-5D72-45F1-8DCF-56C02C07CE4A}"/>
              </a:ext>
            </a:extLst>
          </p:cNvPr>
          <p:cNvSpPr txBox="1"/>
          <p:nvPr/>
        </p:nvSpPr>
        <p:spPr>
          <a:xfrm>
            <a:off x="2668108" y="5775440"/>
            <a:ext cx="490287" cy="2861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00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55" name="テキスト ボックス 254">
            <a:extLst>
              <a:ext uri="{FF2B5EF4-FFF2-40B4-BE49-F238E27FC236}">
                <a16:creationId xmlns:a16="http://schemas.microsoft.com/office/drawing/2014/main" id="{E80D5C3E-483D-4B0B-B9B2-81351814756A}"/>
              </a:ext>
            </a:extLst>
          </p:cNvPr>
          <p:cNvSpPr txBox="1"/>
          <p:nvPr/>
        </p:nvSpPr>
        <p:spPr>
          <a:xfrm>
            <a:off x="2195020" y="5209289"/>
            <a:ext cx="6751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P=0.03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56" name="テキスト ボックス 255">
            <a:extLst>
              <a:ext uri="{FF2B5EF4-FFF2-40B4-BE49-F238E27FC236}">
                <a16:creationId xmlns:a16="http://schemas.microsoft.com/office/drawing/2014/main" id="{5DF32D57-9A2C-40B8-BF9A-59B7A939CE24}"/>
              </a:ext>
            </a:extLst>
          </p:cNvPr>
          <p:cNvSpPr txBox="1"/>
          <p:nvPr/>
        </p:nvSpPr>
        <p:spPr>
          <a:xfrm>
            <a:off x="2206843" y="5464696"/>
            <a:ext cx="7601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P=0.004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61" name="テキスト ボックス 260">
            <a:extLst>
              <a:ext uri="{FF2B5EF4-FFF2-40B4-BE49-F238E27FC236}">
                <a16:creationId xmlns:a16="http://schemas.microsoft.com/office/drawing/2014/main" id="{6D221FD5-5C0C-4E47-8C2E-237A65EE528F}"/>
              </a:ext>
            </a:extLst>
          </p:cNvPr>
          <p:cNvSpPr txBox="1"/>
          <p:nvPr/>
        </p:nvSpPr>
        <p:spPr>
          <a:xfrm>
            <a:off x="2155651" y="3815586"/>
            <a:ext cx="8451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P&lt;0.0001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048" name="正方形/長方形 1047">
            <a:extLst>
              <a:ext uri="{FF2B5EF4-FFF2-40B4-BE49-F238E27FC236}">
                <a16:creationId xmlns:a16="http://schemas.microsoft.com/office/drawing/2014/main" id="{789394F5-8367-4043-A090-7B726A99A670}"/>
              </a:ext>
            </a:extLst>
          </p:cNvPr>
          <p:cNvSpPr/>
          <p:nvPr/>
        </p:nvSpPr>
        <p:spPr>
          <a:xfrm>
            <a:off x="193138" y="6139926"/>
            <a:ext cx="252000" cy="144000"/>
          </a:xfrm>
          <a:prstGeom prst="rect">
            <a:avLst/>
          </a:prstGeom>
          <a:solidFill>
            <a:srgbClr val="1846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63" name="正方形/長方形 262">
            <a:extLst>
              <a:ext uri="{FF2B5EF4-FFF2-40B4-BE49-F238E27FC236}">
                <a16:creationId xmlns:a16="http://schemas.microsoft.com/office/drawing/2014/main" id="{C8EABF37-E3D5-4008-B9E6-7CFF89E21CEF}"/>
              </a:ext>
            </a:extLst>
          </p:cNvPr>
          <p:cNvSpPr/>
          <p:nvPr/>
        </p:nvSpPr>
        <p:spPr>
          <a:xfrm>
            <a:off x="195942" y="6368700"/>
            <a:ext cx="252000" cy="144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64" name="テキスト ボックス 263">
            <a:extLst>
              <a:ext uri="{FF2B5EF4-FFF2-40B4-BE49-F238E27FC236}">
                <a16:creationId xmlns:a16="http://schemas.microsoft.com/office/drawing/2014/main" id="{1A200D40-DF7F-4EA2-AB3B-B0AEF9D6CF78}"/>
              </a:ext>
            </a:extLst>
          </p:cNvPr>
          <p:cNvSpPr txBox="1"/>
          <p:nvPr/>
        </p:nvSpPr>
        <p:spPr>
          <a:xfrm>
            <a:off x="419643" y="6065955"/>
            <a:ext cx="133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Male (N=248)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65" name="テキスト ボックス 264">
            <a:extLst>
              <a:ext uri="{FF2B5EF4-FFF2-40B4-BE49-F238E27FC236}">
                <a16:creationId xmlns:a16="http://schemas.microsoft.com/office/drawing/2014/main" id="{B566A451-14D7-498E-A934-6464CF6F1A2C}"/>
              </a:ext>
            </a:extLst>
          </p:cNvPr>
          <p:cNvSpPr txBox="1"/>
          <p:nvPr/>
        </p:nvSpPr>
        <p:spPr>
          <a:xfrm>
            <a:off x="428700" y="6289575"/>
            <a:ext cx="1501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Female (N=438)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64" name="テキスト ボックス 163"/>
          <p:cNvSpPr txBox="1"/>
          <p:nvPr/>
        </p:nvSpPr>
        <p:spPr>
          <a:xfrm>
            <a:off x="120568" y="3147988"/>
            <a:ext cx="451221" cy="4864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B</a:t>
            </a:r>
            <a:endParaRPr kumimoji="1" lang="ja-JP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68" name="テキスト ボックス 167">
            <a:extLst>
              <a:ext uri="{FF2B5EF4-FFF2-40B4-BE49-F238E27FC236}">
                <a16:creationId xmlns:a16="http://schemas.microsoft.com/office/drawing/2014/main" id="{8174B300-4B2E-4C5E-9EEC-C0091BB4440A}"/>
              </a:ext>
            </a:extLst>
          </p:cNvPr>
          <p:cNvSpPr txBox="1"/>
          <p:nvPr/>
        </p:nvSpPr>
        <p:spPr>
          <a:xfrm>
            <a:off x="8387801" y="2487732"/>
            <a:ext cx="5181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17%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80" name="テキスト ボックス 179">
            <a:extLst>
              <a:ext uri="{FF2B5EF4-FFF2-40B4-BE49-F238E27FC236}">
                <a16:creationId xmlns:a16="http://schemas.microsoft.com/office/drawing/2014/main" id="{C7AA0DD0-8E14-4DF6-9B4F-B3C249CB6A36}"/>
              </a:ext>
            </a:extLst>
          </p:cNvPr>
          <p:cNvSpPr txBox="1"/>
          <p:nvPr/>
        </p:nvSpPr>
        <p:spPr>
          <a:xfrm>
            <a:off x="2152769" y="4243647"/>
            <a:ext cx="8451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P&lt;0.0001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81" name="テキスト ボックス 180">
            <a:extLst>
              <a:ext uri="{FF2B5EF4-FFF2-40B4-BE49-F238E27FC236}">
                <a16:creationId xmlns:a16="http://schemas.microsoft.com/office/drawing/2014/main" id="{1B875397-B811-4304-BE4A-2FA3CD16C668}"/>
              </a:ext>
            </a:extLst>
          </p:cNvPr>
          <p:cNvSpPr txBox="1"/>
          <p:nvPr/>
        </p:nvSpPr>
        <p:spPr>
          <a:xfrm>
            <a:off x="2142506" y="4741518"/>
            <a:ext cx="8451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P&lt;0.0001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203" name="テキスト ボックス 14">
            <a:extLst>
              <a:ext uri="{FF2B5EF4-FFF2-40B4-BE49-F238E27FC236}">
                <a16:creationId xmlns:a16="http://schemas.microsoft.com/office/drawing/2014/main" id="{9F1D8886-5F0C-43F1-A8B0-8E96CF2EF8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72719" y="6546830"/>
            <a:ext cx="545592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(Shimokawa H, et al. </a:t>
            </a:r>
            <a:r>
              <a:rPr kumimoji="1" lang="en-US" altLang="ja-JP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</a:t>
            </a:r>
            <a:r>
              <a:rPr kumimoji="1" lang="en-US" altLang="ja-JP" sz="1600" b="1" i="1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ur</a:t>
            </a:r>
            <a:r>
              <a:rPr kumimoji="1" lang="en-US" altLang="ja-JP" sz="16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1" lang="en-US" altLang="ja-JP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Heart J</a:t>
            </a:r>
            <a:r>
              <a:rPr kumimoji="1" lang="en-US" altLang="ja-JP" sz="16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. </a:t>
            </a:r>
            <a:r>
              <a:rPr kumimoji="1" lang="en-US" altLang="ja-JP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2021;42:4592-4600.</a:t>
            </a:r>
            <a:r>
              <a:rPr kumimoji="1" lang="en-US" altLang="ja-JP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)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65" name="テキスト ボックス 164">
            <a:extLst>
              <a:ext uri="{FF2B5EF4-FFF2-40B4-BE49-F238E27FC236}">
                <a16:creationId xmlns:a16="http://schemas.microsoft.com/office/drawing/2014/main" id="{0D6C96B1-8C38-4293-8DB0-AD434912058D}"/>
              </a:ext>
            </a:extLst>
          </p:cNvPr>
          <p:cNvSpPr txBox="1"/>
          <p:nvPr/>
        </p:nvSpPr>
        <p:spPr>
          <a:xfrm>
            <a:off x="1308568" y="47224"/>
            <a:ext cx="9900000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The international cohort study on MVA by COVADIS (N=686)</a:t>
            </a:r>
            <a:endParaRPr kumimoji="1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52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テキスト ボックス 112">
            <a:extLst>
              <a:ext uri="{FF2B5EF4-FFF2-40B4-BE49-F238E27FC236}">
                <a16:creationId xmlns:a16="http://schemas.microsoft.com/office/drawing/2014/main" id="{0F7E01BA-EB97-49F2-925C-34C2814F1762}"/>
              </a:ext>
            </a:extLst>
          </p:cNvPr>
          <p:cNvSpPr txBox="1"/>
          <p:nvPr/>
        </p:nvSpPr>
        <p:spPr>
          <a:xfrm>
            <a:off x="1951195" y="995609"/>
            <a:ext cx="3540586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ゴシック" panose="020B0609070205080204" pitchFamily="49" charset="-128"/>
                <a:cs typeface="Arial" panose="020B0604020202020204" pitchFamily="34" charset="0"/>
              </a:rPr>
              <a:t>COVADIS Study (MVA) </a:t>
            </a:r>
            <a:endParaRPr kumimoji="1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ゴシック" panose="020B0609070205080204" pitchFamily="49" charset="-128"/>
              <a:cs typeface="Arial" panose="020B0604020202020204" pitchFamily="34" charset="0"/>
            </a:endParaRPr>
          </a:p>
        </p:txBody>
      </p:sp>
      <p:sp>
        <p:nvSpPr>
          <p:cNvPr id="64" name="テキスト ボックス 63"/>
          <p:cNvSpPr txBox="1"/>
          <p:nvPr/>
        </p:nvSpPr>
        <p:spPr>
          <a:xfrm>
            <a:off x="1055440" y="899138"/>
            <a:ext cx="444352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ゴシック" panose="020B0609070205080204" pitchFamily="49" charset="-128"/>
                <a:cs typeface="Arial" panose="020B0604020202020204" pitchFamily="34" charset="0"/>
              </a:rPr>
              <a:t>A</a:t>
            </a:r>
            <a:endParaRPr kumimoji="1" lang="ja-JP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ゴシック" panose="020B0609070205080204" pitchFamily="49" charset="-128"/>
              <a:cs typeface="Arial" panose="020B0604020202020204" pitchFamily="34" charset="0"/>
            </a:endParaRPr>
          </a:p>
        </p:txBody>
      </p:sp>
      <p:sp>
        <p:nvSpPr>
          <p:cNvPr id="124" name="テキスト ボックス 123">
            <a:extLst>
              <a:ext uri="{FF2B5EF4-FFF2-40B4-BE49-F238E27FC236}">
                <a16:creationId xmlns:a16="http://schemas.microsoft.com/office/drawing/2014/main" id="{16A259D0-6ADE-42D6-8C4F-669960969EF1}"/>
              </a:ext>
            </a:extLst>
          </p:cNvPr>
          <p:cNvSpPr txBox="1"/>
          <p:nvPr/>
        </p:nvSpPr>
        <p:spPr>
          <a:xfrm>
            <a:off x="6011688" y="899138"/>
            <a:ext cx="444352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B</a:t>
            </a:r>
            <a:endParaRPr kumimoji="1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8" name="テキスト ボックス 77">
            <a:extLst>
              <a:ext uri="{FF2B5EF4-FFF2-40B4-BE49-F238E27FC236}">
                <a16:creationId xmlns:a16="http://schemas.microsoft.com/office/drawing/2014/main" id="{C1493478-BF68-4C0E-8D19-0D3883804A1F}"/>
              </a:ext>
            </a:extLst>
          </p:cNvPr>
          <p:cNvSpPr txBox="1"/>
          <p:nvPr/>
        </p:nvSpPr>
        <p:spPr>
          <a:xfrm>
            <a:off x="1364061" y="179929"/>
            <a:ext cx="9844507" cy="584775"/>
          </a:xfrm>
          <a:prstGeom prst="rect">
            <a:avLst/>
          </a:prstGeom>
          <a:solidFill>
            <a:srgbClr val="0070C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Comparison of Patient Prognosis</a:t>
            </a:r>
            <a:r>
              <a:rPr kumimoji="1" lang="ja-JP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（</a:t>
            </a:r>
            <a:r>
              <a:rPr kumimoji="1" lang="en-US" altLang="ja-JP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MVA vs. IHD</a:t>
            </a:r>
            <a:r>
              <a:rPr kumimoji="1" lang="ja-JP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）</a:t>
            </a:r>
            <a:endParaRPr kumimoji="1" lang="ja-JP" alt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0F7E01BA-EB97-49F2-925C-34C2814F1762}"/>
              </a:ext>
            </a:extLst>
          </p:cNvPr>
          <p:cNvSpPr txBox="1"/>
          <p:nvPr/>
        </p:nvSpPr>
        <p:spPr>
          <a:xfrm>
            <a:off x="7108975" y="980728"/>
            <a:ext cx="3523529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ゴシック" panose="020B0609070205080204" pitchFamily="49" charset="-128"/>
                <a:cs typeface="Arial" panose="020B0604020202020204" pitchFamily="34" charset="0"/>
              </a:rPr>
              <a:t>ISCHEMIA Study (IHD) </a:t>
            </a:r>
            <a:endParaRPr kumimoji="1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ゴシック" panose="020B0609070205080204" pitchFamily="49" charset="-128"/>
              <a:cs typeface="Arial" panose="020B0604020202020204" pitchFamily="34" charset="0"/>
            </a:endParaRPr>
          </a:p>
        </p:txBody>
      </p:sp>
      <p:grpSp>
        <p:nvGrpSpPr>
          <p:cNvPr id="11" name="グループ化 10"/>
          <p:cNvGrpSpPr/>
          <p:nvPr/>
        </p:nvGrpSpPr>
        <p:grpSpPr>
          <a:xfrm>
            <a:off x="6240600" y="1537628"/>
            <a:ext cx="5651440" cy="4988547"/>
            <a:chOff x="6240600" y="1537628"/>
            <a:chExt cx="5651440" cy="4988547"/>
          </a:xfrm>
        </p:grpSpPr>
        <p:sp>
          <p:nvSpPr>
            <p:cNvPr id="123" name="テキスト ボックス 122"/>
            <p:cNvSpPr txBox="1"/>
            <p:nvPr/>
          </p:nvSpPr>
          <p:spPr>
            <a:xfrm>
              <a:off x="6456040" y="6187621"/>
              <a:ext cx="5436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(</a:t>
              </a:r>
              <a:r>
                <a:rPr kumimoji="1" lang="en-US" altLang="ja-JP" sz="16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Maron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DJ, et al.  </a:t>
              </a:r>
              <a:r>
                <a:rPr kumimoji="1" lang="en-US" altLang="ja-JP" sz="16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N </a:t>
              </a:r>
              <a:r>
                <a:rPr kumimoji="1" lang="en-US" altLang="ja-JP" sz="16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Engl</a:t>
              </a:r>
              <a:r>
                <a:rPr kumimoji="1" lang="en-US" altLang="ja-JP" sz="16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J Med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.  2020;382:1395-1407.)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saka" pitchFamily="32" charset="-128"/>
                <a:cs typeface="Arial" panose="020B0604020202020204" pitchFamily="34" charset="0"/>
              </a:endParaRPr>
            </a:p>
          </p:txBody>
        </p:sp>
        <p:grpSp>
          <p:nvGrpSpPr>
            <p:cNvPr id="9" name="グループ化 8"/>
            <p:cNvGrpSpPr/>
            <p:nvPr/>
          </p:nvGrpSpPr>
          <p:grpSpPr>
            <a:xfrm>
              <a:off x="6240600" y="1700808"/>
              <a:ext cx="5256000" cy="4176464"/>
              <a:chOff x="6240600" y="1700808"/>
              <a:chExt cx="5256000" cy="4176464"/>
            </a:xfrm>
          </p:grpSpPr>
          <p:pic>
            <p:nvPicPr>
              <p:cNvPr id="4" name="図 3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240600" y="1846679"/>
                <a:ext cx="5256000" cy="4030593"/>
              </a:xfrm>
              <a:prstGeom prst="rect">
                <a:avLst/>
              </a:prstGeom>
            </p:spPr>
          </p:pic>
          <p:sp>
            <p:nvSpPr>
              <p:cNvPr id="8" name="テキスト ボックス 7"/>
              <p:cNvSpPr txBox="1"/>
              <p:nvPr/>
            </p:nvSpPr>
            <p:spPr>
              <a:xfrm>
                <a:off x="6744072" y="1700808"/>
                <a:ext cx="4262705" cy="46166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" charset="0"/>
                    <a:ea typeface="Osaka" pitchFamily="32" charset="-128"/>
                    <a:cs typeface="+mn-cs"/>
                  </a:rPr>
                  <a:t>                                                     </a:t>
                </a:r>
                <a:endParaRPr kumimoji="1" lang="ja-JP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" charset="0"/>
                  <a:ea typeface="Osaka" pitchFamily="32" charset="-128"/>
                  <a:cs typeface="+mn-cs"/>
                </a:endParaRPr>
              </a:p>
            </p:txBody>
          </p:sp>
          <p:sp>
            <p:nvSpPr>
              <p:cNvPr id="47" name="テキスト ボックス 46"/>
              <p:cNvSpPr txBox="1"/>
              <p:nvPr/>
            </p:nvSpPr>
            <p:spPr>
              <a:xfrm>
                <a:off x="9270940" y="2452826"/>
                <a:ext cx="1051891" cy="400110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2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Osaka" pitchFamily="32" charset="-128"/>
                    <a:cs typeface="Arial" panose="020B0604020202020204" pitchFamily="34" charset="0"/>
                  </a:rPr>
                  <a:t>5.0%/</a:t>
                </a:r>
                <a:r>
                  <a:rPr kumimoji="1" lang="en-US" altLang="ja-JP" sz="20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Osaka" pitchFamily="32" charset="-128"/>
                    <a:cs typeface="Arial" panose="020B0604020202020204" pitchFamily="34" charset="0"/>
                  </a:rPr>
                  <a:t>yr</a:t>
                </a:r>
                <a:endParaRPr kumimoji="1" lang="ja-JP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0" name="テキスト ボックス 49"/>
            <p:cNvSpPr txBox="1"/>
            <p:nvPr/>
          </p:nvSpPr>
          <p:spPr>
            <a:xfrm>
              <a:off x="7448315" y="1537628"/>
              <a:ext cx="4153701" cy="523220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Major endpoints</a:t>
              </a: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: CV death,</a:t>
              </a:r>
              <a:r>
                <a:rPr kumimoji="1" lang="ja-JP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</a:t>
              </a: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AMI, Admission</a:t>
              </a:r>
              <a:r>
                <a:rPr kumimoji="1" lang="ja-JP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</a:t>
              </a:r>
              <a:endParaRPr kumimoji="1" lang="en-US" altLang="ja-JP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saka" pitchFamily="32" charset="-128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(Unstable AP, </a:t>
              </a:r>
              <a:r>
                <a:rPr kumimoji="1" lang="ja-JP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</a:t>
              </a: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HF, resuscitated cardiac arrest</a:t>
              </a:r>
              <a:r>
                <a:rPr kumimoji="1" lang="ja-JP" alt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）</a:t>
              </a: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</a:t>
              </a:r>
            </a:p>
          </p:txBody>
        </p:sp>
        <p:cxnSp>
          <p:nvCxnSpPr>
            <p:cNvPr id="12" name="直線コネクタ 11"/>
            <p:cNvCxnSpPr/>
            <p:nvPr/>
          </p:nvCxnSpPr>
          <p:spPr>
            <a:xfrm>
              <a:off x="6816080" y="4509120"/>
              <a:ext cx="410445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コネクタ 13"/>
            <p:cNvCxnSpPr/>
            <p:nvPr/>
          </p:nvCxnSpPr>
          <p:spPr>
            <a:xfrm flipV="1">
              <a:off x="6816080" y="1990355"/>
              <a:ext cx="0" cy="251876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グループ化 4"/>
          <p:cNvGrpSpPr/>
          <p:nvPr/>
        </p:nvGrpSpPr>
        <p:grpSpPr>
          <a:xfrm>
            <a:off x="695400" y="1751810"/>
            <a:ext cx="5484019" cy="4770487"/>
            <a:chOff x="695400" y="1751810"/>
            <a:chExt cx="5484019" cy="4770487"/>
          </a:xfrm>
        </p:grpSpPr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74AEDEC5-D4E6-44A6-8E03-7F4BD93F06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553"/>
            <a:stretch/>
          </p:blipFill>
          <p:spPr>
            <a:xfrm>
              <a:off x="1408211" y="1776761"/>
              <a:ext cx="4389395" cy="3254439"/>
            </a:xfrm>
            <a:prstGeom prst="rect">
              <a:avLst/>
            </a:prstGeom>
          </p:spPr>
        </p:pic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A75BDF8D-9FD1-4C92-9D46-FA3090ADAC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688" t="4659" r="4852" b="13366"/>
            <a:stretch/>
          </p:blipFill>
          <p:spPr>
            <a:xfrm>
              <a:off x="1719877" y="1894168"/>
              <a:ext cx="3984133" cy="2698074"/>
            </a:xfrm>
            <a:prstGeom prst="rect">
              <a:avLst/>
            </a:prstGeom>
          </p:spPr>
        </p:pic>
        <p:pic>
          <p:nvPicPr>
            <p:cNvPr id="3" name="図 2">
              <a:extLst>
                <a:ext uri="{FF2B5EF4-FFF2-40B4-BE49-F238E27FC236}">
                  <a16:creationId xmlns:a16="http://schemas.microsoft.com/office/drawing/2014/main" id="{AC98D9E6-7AB2-44A7-BBBF-6FE5B605C4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205" t="4372" r="4242" b="13381"/>
            <a:stretch/>
          </p:blipFill>
          <p:spPr>
            <a:xfrm>
              <a:off x="1736092" y="1913579"/>
              <a:ext cx="3992038" cy="2680100"/>
            </a:xfrm>
            <a:prstGeom prst="rect">
              <a:avLst/>
            </a:prstGeom>
          </p:spPr>
        </p:pic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D3BDDBD1-E807-40A4-947A-F014D42B17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051" t="6435" r="4263" b="13569"/>
            <a:stretch/>
          </p:blipFill>
          <p:spPr>
            <a:xfrm>
              <a:off x="1645880" y="1990355"/>
              <a:ext cx="4034095" cy="262902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1B6B8597-FBD9-4BFF-B8FA-B7A6896005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042" t="5946" r="4852" b="12659"/>
            <a:stretch/>
          </p:blipFill>
          <p:spPr>
            <a:xfrm>
              <a:off x="1687977" y="1945929"/>
              <a:ext cx="4015866" cy="2680454"/>
            </a:xfrm>
            <a:prstGeom prst="rect">
              <a:avLst/>
            </a:prstGeom>
          </p:spPr>
        </p:pic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D3078DDC-3F62-411E-9D01-554C7D2F2C51}"/>
                </a:ext>
              </a:extLst>
            </p:cNvPr>
            <p:cNvSpPr txBox="1"/>
            <p:nvPr/>
          </p:nvSpPr>
          <p:spPr>
            <a:xfrm>
              <a:off x="1354946" y="1751810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4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F7266CDC-0D66-48BB-A1A2-21D4E5A7A3B7}"/>
                </a:ext>
              </a:extLst>
            </p:cNvPr>
            <p:cNvSpPr txBox="1"/>
            <p:nvPr/>
          </p:nvSpPr>
          <p:spPr>
            <a:xfrm>
              <a:off x="1354946" y="2427570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3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5" name="テキスト ボックス 24">
              <a:extLst>
                <a:ext uri="{FF2B5EF4-FFF2-40B4-BE49-F238E27FC236}">
                  <a16:creationId xmlns:a16="http://schemas.microsoft.com/office/drawing/2014/main" id="{17E6C44B-D6B8-463B-AE38-29063CF48E43}"/>
                </a:ext>
              </a:extLst>
            </p:cNvPr>
            <p:cNvSpPr txBox="1"/>
            <p:nvPr/>
          </p:nvSpPr>
          <p:spPr>
            <a:xfrm>
              <a:off x="1364788" y="3086639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2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7" name="テキスト ボックス 26">
              <a:extLst>
                <a:ext uri="{FF2B5EF4-FFF2-40B4-BE49-F238E27FC236}">
                  <a16:creationId xmlns:a16="http://schemas.microsoft.com/office/drawing/2014/main" id="{DF3FE6E8-4D1A-4CEC-8F09-7B50885705E5}"/>
                </a:ext>
              </a:extLst>
            </p:cNvPr>
            <p:cNvSpPr txBox="1"/>
            <p:nvPr/>
          </p:nvSpPr>
          <p:spPr>
            <a:xfrm>
              <a:off x="1352489" y="3788608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1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84F42A52-FB6D-46B4-8C1C-5916B9C810A3}"/>
                </a:ext>
              </a:extLst>
            </p:cNvPr>
            <p:cNvSpPr txBox="1"/>
            <p:nvPr/>
          </p:nvSpPr>
          <p:spPr>
            <a:xfrm>
              <a:off x="1425036" y="4445398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59" name="テキスト ボックス 58">
              <a:extLst>
                <a:ext uri="{FF2B5EF4-FFF2-40B4-BE49-F238E27FC236}">
                  <a16:creationId xmlns:a16="http://schemas.microsoft.com/office/drawing/2014/main" id="{D8BF6BD1-C60D-4B26-BEFC-C2D9E929E40C}"/>
                </a:ext>
              </a:extLst>
            </p:cNvPr>
            <p:cNvSpPr txBox="1"/>
            <p:nvPr/>
          </p:nvSpPr>
          <p:spPr>
            <a:xfrm>
              <a:off x="1475731" y="5580110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678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1" name="テキスト ボックス 60">
              <a:extLst>
                <a:ext uri="{FF2B5EF4-FFF2-40B4-BE49-F238E27FC236}">
                  <a16:creationId xmlns:a16="http://schemas.microsoft.com/office/drawing/2014/main" id="{E77B755B-9FA0-426F-8537-739EB95877A4}"/>
                </a:ext>
              </a:extLst>
            </p:cNvPr>
            <p:cNvSpPr txBox="1"/>
            <p:nvPr/>
          </p:nvSpPr>
          <p:spPr>
            <a:xfrm>
              <a:off x="2220169" y="5585070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637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3" name="テキスト ボックス 62">
              <a:extLst>
                <a:ext uri="{FF2B5EF4-FFF2-40B4-BE49-F238E27FC236}">
                  <a16:creationId xmlns:a16="http://schemas.microsoft.com/office/drawing/2014/main" id="{744457BE-8C83-4673-8C99-9AFE3152BA53}"/>
                </a:ext>
              </a:extLst>
            </p:cNvPr>
            <p:cNvSpPr txBox="1"/>
            <p:nvPr/>
          </p:nvSpPr>
          <p:spPr>
            <a:xfrm>
              <a:off x="2933061" y="5591032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336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5" name="テキスト ボックス 64">
              <a:extLst>
                <a:ext uri="{FF2B5EF4-FFF2-40B4-BE49-F238E27FC236}">
                  <a16:creationId xmlns:a16="http://schemas.microsoft.com/office/drawing/2014/main" id="{BAE230E1-0A29-43D9-9082-527177F0CCE7}"/>
                </a:ext>
              </a:extLst>
            </p:cNvPr>
            <p:cNvSpPr txBox="1"/>
            <p:nvPr/>
          </p:nvSpPr>
          <p:spPr>
            <a:xfrm>
              <a:off x="3643185" y="5591032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227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7" name="テキスト ボックス 66">
              <a:extLst>
                <a:ext uri="{FF2B5EF4-FFF2-40B4-BE49-F238E27FC236}">
                  <a16:creationId xmlns:a16="http://schemas.microsoft.com/office/drawing/2014/main" id="{0C979BC8-6B58-407F-AE2D-AECC92CAE9AA}"/>
                </a:ext>
              </a:extLst>
            </p:cNvPr>
            <p:cNvSpPr txBox="1"/>
            <p:nvPr/>
          </p:nvSpPr>
          <p:spPr>
            <a:xfrm>
              <a:off x="4353501" y="5592690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144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9" name="テキスト ボックス 68">
              <a:extLst>
                <a:ext uri="{FF2B5EF4-FFF2-40B4-BE49-F238E27FC236}">
                  <a16:creationId xmlns:a16="http://schemas.microsoft.com/office/drawing/2014/main" id="{6978C8F7-D5A8-4A63-8696-06FCA629FFF1}"/>
                </a:ext>
              </a:extLst>
            </p:cNvPr>
            <p:cNvSpPr txBox="1"/>
            <p:nvPr/>
          </p:nvSpPr>
          <p:spPr>
            <a:xfrm>
              <a:off x="5158186" y="5591032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95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71" name="テキスト ボックス 70">
              <a:extLst>
                <a:ext uri="{FF2B5EF4-FFF2-40B4-BE49-F238E27FC236}">
                  <a16:creationId xmlns:a16="http://schemas.microsoft.com/office/drawing/2014/main" id="{2DB03AB3-5CD2-4D87-83EB-9AF9C8857A96}"/>
                </a:ext>
              </a:extLst>
            </p:cNvPr>
            <p:cNvSpPr txBox="1"/>
            <p:nvPr/>
          </p:nvSpPr>
          <p:spPr>
            <a:xfrm>
              <a:off x="1162270" y="5210365"/>
              <a:ext cx="110974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No. at risk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sp>
          <p:nvSpPr>
            <p:cNvPr id="73" name="テキスト ボックス 72">
              <a:extLst>
                <a:ext uri="{FF2B5EF4-FFF2-40B4-BE49-F238E27FC236}">
                  <a16:creationId xmlns:a16="http://schemas.microsoft.com/office/drawing/2014/main" id="{2E235EE3-1BCC-4409-90BD-FB5E26743670}"/>
                </a:ext>
              </a:extLst>
            </p:cNvPr>
            <p:cNvSpPr txBox="1"/>
            <p:nvPr/>
          </p:nvSpPr>
          <p:spPr>
            <a:xfrm>
              <a:off x="1577849" y="4602336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75" name="テキスト ボックス 74">
              <a:extLst>
                <a:ext uri="{FF2B5EF4-FFF2-40B4-BE49-F238E27FC236}">
                  <a16:creationId xmlns:a16="http://schemas.microsoft.com/office/drawing/2014/main" id="{F36B6018-E2FF-49BB-8BE2-3304BFE7927F}"/>
                </a:ext>
              </a:extLst>
            </p:cNvPr>
            <p:cNvSpPr txBox="1"/>
            <p:nvPr/>
          </p:nvSpPr>
          <p:spPr>
            <a:xfrm>
              <a:off x="2307522" y="4595012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6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77" name="テキスト ボックス 76">
              <a:extLst>
                <a:ext uri="{FF2B5EF4-FFF2-40B4-BE49-F238E27FC236}">
                  <a16:creationId xmlns:a16="http://schemas.microsoft.com/office/drawing/2014/main" id="{E4F65C68-043E-4D6B-8FF3-64AEA01C86DC}"/>
                </a:ext>
              </a:extLst>
            </p:cNvPr>
            <p:cNvSpPr txBox="1"/>
            <p:nvPr/>
          </p:nvSpPr>
          <p:spPr>
            <a:xfrm>
              <a:off x="3680495" y="4600441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18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79" name="テキスト ボックス 78">
              <a:extLst>
                <a:ext uri="{FF2B5EF4-FFF2-40B4-BE49-F238E27FC236}">
                  <a16:creationId xmlns:a16="http://schemas.microsoft.com/office/drawing/2014/main" id="{AEBCB44A-C552-4E94-9BB9-71BE291BF28B}"/>
                </a:ext>
              </a:extLst>
            </p:cNvPr>
            <p:cNvSpPr txBox="1"/>
            <p:nvPr/>
          </p:nvSpPr>
          <p:spPr>
            <a:xfrm>
              <a:off x="4413143" y="4595012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24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81" name="テキスト ボックス 80">
              <a:extLst>
                <a:ext uri="{FF2B5EF4-FFF2-40B4-BE49-F238E27FC236}">
                  <a16:creationId xmlns:a16="http://schemas.microsoft.com/office/drawing/2014/main" id="{01CBAFB0-7457-4822-9C38-E4B5A880101B}"/>
                </a:ext>
              </a:extLst>
            </p:cNvPr>
            <p:cNvSpPr txBox="1"/>
            <p:nvPr/>
          </p:nvSpPr>
          <p:spPr>
            <a:xfrm>
              <a:off x="2967489" y="4600441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12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83" name="テキスト ボックス 82">
              <a:extLst>
                <a:ext uri="{FF2B5EF4-FFF2-40B4-BE49-F238E27FC236}">
                  <a16:creationId xmlns:a16="http://schemas.microsoft.com/office/drawing/2014/main" id="{27D660D1-EE42-40C2-BCAE-8760C31FF109}"/>
                </a:ext>
              </a:extLst>
            </p:cNvPr>
            <p:cNvSpPr txBox="1"/>
            <p:nvPr/>
          </p:nvSpPr>
          <p:spPr>
            <a:xfrm>
              <a:off x="5138135" y="4580696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3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" name="テキスト ボックス 1"/>
            <p:cNvSpPr txBox="1"/>
            <p:nvPr/>
          </p:nvSpPr>
          <p:spPr>
            <a:xfrm>
              <a:off x="4344565" y="2699628"/>
              <a:ext cx="1051891" cy="40011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7.7%/</a:t>
              </a:r>
              <a:r>
                <a:rPr kumimoji="1" lang="en-US" altLang="ja-JP" sz="2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yr</a:t>
              </a:r>
              <a:endPara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Osaka" pitchFamily="32" charset="-128"/>
                <a:cs typeface="Arial" panose="020B0604020202020204" pitchFamily="34" charset="0"/>
              </a:endParaRPr>
            </a:p>
          </p:txBody>
        </p:sp>
        <p:sp>
          <p:nvSpPr>
            <p:cNvPr id="51" name="テキスト ボックス 14">
              <a:extLst>
                <a:ext uri="{FF2B5EF4-FFF2-40B4-BE49-F238E27FC236}">
                  <a16:creationId xmlns:a16="http://schemas.microsoft.com/office/drawing/2014/main" id="{9F1D8886-5F0C-43F1-A8B0-8E96CF2EF8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5400" y="6183743"/>
              <a:ext cx="54840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(Shimokawa H, et al. 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 </a:t>
              </a:r>
              <a:r>
                <a:rPr kumimoji="1" lang="en-US" altLang="ja-JP" sz="16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Eur</a:t>
              </a:r>
              <a:r>
                <a:rPr kumimoji="1" lang="en-US" altLang="ja-JP" sz="16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 </a:t>
              </a:r>
              <a:r>
                <a:rPr kumimoji="1" lang="en-US" altLang="ja-JP" sz="16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Heart J</a:t>
              </a:r>
              <a:r>
                <a:rPr kumimoji="1" lang="en-US" altLang="ja-JP" sz="16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. 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 2021;42:4592-4600.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)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sp>
          <p:nvSpPr>
            <p:cNvPr id="53" name="テキスト ボックス 52">
              <a:extLst>
                <a:ext uri="{FF2B5EF4-FFF2-40B4-BE49-F238E27FC236}">
                  <a16:creationId xmlns:a16="http://schemas.microsoft.com/office/drawing/2014/main" id="{3985D054-B08C-4C01-809F-AF6AE85456DC}"/>
                </a:ext>
              </a:extLst>
            </p:cNvPr>
            <p:cNvSpPr txBox="1"/>
            <p:nvPr/>
          </p:nvSpPr>
          <p:spPr>
            <a:xfrm>
              <a:off x="2423592" y="4935911"/>
              <a:ext cx="252891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Follow-up</a:t>
              </a:r>
              <a:r>
                <a:rPr kumimoji="1" lang="en-US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 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(Months)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ゴシック" panose="020B0609070205080204" pitchFamily="49" charset="-128"/>
                <a:cs typeface="Arial" panose="020B0604020202020204" pitchFamily="34" charset="0"/>
              </a:endParaRPr>
            </a:p>
          </p:txBody>
        </p:sp>
        <p:sp>
          <p:nvSpPr>
            <p:cNvPr id="54" name="テキスト ボックス 53">
              <a:extLst>
                <a:ext uri="{FF2B5EF4-FFF2-40B4-BE49-F238E27FC236}">
                  <a16:creationId xmlns:a16="http://schemas.microsoft.com/office/drawing/2014/main" id="{6EEEF254-22E9-447F-896C-B287931A0AA7}"/>
                </a:ext>
              </a:extLst>
            </p:cNvPr>
            <p:cNvSpPr txBox="1"/>
            <p:nvPr/>
          </p:nvSpPr>
          <p:spPr>
            <a:xfrm rot="16200000">
              <a:off x="-296594" y="3002320"/>
              <a:ext cx="27975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Cumulative event rate 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(%)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cxnSp>
          <p:nvCxnSpPr>
            <p:cNvPr id="55" name="直線コネクタ 54">
              <a:extLst>
                <a:ext uri="{FF2B5EF4-FFF2-40B4-BE49-F238E27FC236}">
                  <a16:creationId xmlns:a16="http://schemas.microsoft.com/office/drawing/2014/main" id="{AFBCCD09-7CA8-4C38-9F3D-EE772B0188EB}"/>
                </a:ext>
              </a:extLst>
            </p:cNvPr>
            <p:cNvCxnSpPr>
              <a:cxnSpLocks/>
            </p:cNvCxnSpPr>
            <p:nvPr/>
          </p:nvCxnSpPr>
          <p:spPr>
            <a:xfrm>
              <a:off x="1847528" y="2148867"/>
              <a:ext cx="486000" cy="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テキスト ボックス 55">
              <a:extLst>
                <a:ext uri="{FF2B5EF4-FFF2-40B4-BE49-F238E27FC236}">
                  <a16:creationId xmlns:a16="http://schemas.microsoft.com/office/drawing/2014/main" id="{01D0B7CE-5AA3-4C1B-B488-A28A9D38FE1A}"/>
                </a:ext>
              </a:extLst>
            </p:cNvPr>
            <p:cNvSpPr txBox="1"/>
            <p:nvPr/>
          </p:nvSpPr>
          <p:spPr>
            <a:xfrm>
              <a:off x="2320346" y="1979117"/>
              <a:ext cx="132553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Total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78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57" name="直線コネクタ 56">
              <a:extLst>
                <a:ext uri="{FF2B5EF4-FFF2-40B4-BE49-F238E27FC236}">
                  <a16:creationId xmlns:a16="http://schemas.microsoft.com/office/drawing/2014/main" id="{DA0F0F6D-EE7F-402C-A86E-AECEE370CBC7}"/>
                </a:ext>
              </a:extLst>
            </p:cNvPr>
            <p:cNvCxnSpPr>
              <a:cxnSpLocks/>
            </p:cNvCxnSpPr>
            <p:nvPr/>
          </p:nvCxnSpPr>
          <p:spPr>
            <a:xfrm>
              <a:off x="1847528" y="2438385"/>
              <a:ext cx="486000" cy="0"/>
            </a:xfrm>
            <a:prstGeom prst="line">
              <a:avLst/>
            </a:prstGeom>
            <a:ln w="3175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テキスト ボックス 57">
              <a:extLst>
                <a:ext uri="{FF2B5EF4-FFF2-40B4-BE49-F238E27FC236}">
                  <a16:creationId xmlns:a16="http://schemas.microsoft.com/office/drawing/2014/main" id="{50CE205D-7DE4-47CA-9032-C2EE9957B0B9}"/>
                </a:ext>
              </a:extLst>
            </p:cNvPr>
            <p:cNvSpPr txBox="1"/>
            <p:nvPr/>
          </p:nvSpPr>
          <p:spPr>
            <a:xfrm>
              <a:off x="2339104" y="2586876"/>
              <a:ext cx="176910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CV death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9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60" name="直線コネクタ 59">
              <a:extLst>
                <a:ext uri="{FF2B5EF4-FFF2-40B4-BE49-F238E27FC236}">
                  <a16:creationId xmlns:a16="http://schemas.microsoft.com/office/drawing/2014/main" id="{A47CAF16-CED7-4035-8BB4-241D8E1B568F}"/>
                </a:ext>
              </a:extLst>
            </p:cNvPr>
            <p:cNvCxnSpPr>
              <a:cxnSpLocks/>
            </p:cNvCxnSpPr>
            <p:nvPr/>
          </p:nvCxnSpPr>
          <p:spPr>
            <a:xfrm>
              <a:off x="1847528" y="3011329"/>
              <a:ext cx="486000" cy="0"/>
            </a:xfrm>
            <a:prstGeom prst="line">
              <a:avLst/>
            </a:prstGeom>
            <a:ln w="3175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テキスト ボックス 61">
              <a:extLst>
                <a:ext uri="{FF2B5EF4-FFF2-40B4-BE49-F238E27FC236}">
                  <a16:creationId xmlns:a16="http://schemas.microsoft.com/office/drawing/2014/main" id="{BBFC0D73-5944-4E05-8BCB-6173F68BB391}"/>
                </a:ext>
              </a:extLst>
            </p:cNvPr>
            <p:cNvSpPr txBox="1"/>
            <p:nvPr/>
          </p:nvSpPr>
          <p:spPr>
            <a:xfrm>
              <a:off x="2333530" y="2881591"/>
              <a:ext cx="132916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AMI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5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66" name="直線コネクタ 65">
              <a:extLst>
                <a:ext uri="{FF2B5EF4-FFF2-40B4-BE49-F238E27FC236}">
                  <a16:creationId xmlns:a16="http://schemas.microsoft.com/office/drawing/2014/main" id="{BE96341A-3B1A-46F7-89F7-F8B77DB5C329}"/>
                </a:ext>
              </a:extLst>
            </p:cNvPr>
            <p:cNvCxnSpPr>
              <a:cxnSpLocks/>
            </p:cNvCxnSpPr>
            <p:nvPr/>
          </p:nvCxnSpPr>
          <p:spPr>
            <a:xfrm>
              <a:off x="1847528" y="2724931"/>
              <a:ext cx="486000" cy="0"/>
            </a:xfrm>
            <a:prstGeom prst="line">
              <a:avLst/>
            </a:prstGeom>
            <a:ln w="317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4CBC53A4-1BCE-4C6D-8835-F72CE7F79B10}"/>
                </a:ext>
              </a:extLst>
            </p:cNvPr>
            <p:cNvSpPr txBox="1"/>
            <p:nvPr/>
          </p:nvSpPr>
          <p:spPr>
            <a:xfrm>
              <a:off x="2333528" y="2284500"/>
              <a:ext cx="181331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Unstable AP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63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70" name="直線コネクタ 69">
              <a:extLst>
                <a:ext uri="{FF2B5EF4-FFF2-40B4-BE49-F238E27FC236}">
                  <a16:creationId xmlns:a16="http://schemas.microsoft.com/office/drawing/2014/main" id="{A556765E-D03C-4DFD-889B-88D88E8D94C3}"/>
                </a:ext>
              </a:extLst>
            </p:cNvPr>
            <p:cNvCxnSpPr>
              <a:cxnSpLocks/>
            </p:cNvCxnSpPr>
            <p:nvPr/>
          </p:nvCxnSpPr>
          <p:spPr>
            <a:xfrm>
              <a:off x="1849479" y="3319106"/>
              <a:ext cx="486000" cy="0"/>
            </a:xfrm>
            <a:prstGeom prst="line">
              <a:avLst/>
            </a:prstGeom>
            <a:ln w="31750">
              <a:solidFill>
                <a:srgbClr val="01AF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テキスト ボックス 71">
              <a:extLst>
                <a:ext uri="{FF2B5EF4-FFF2-40B4-BE49-F238E27FC236}">
                  <a16:creationId xmlns:a16="http://schemas.microsoft.com/office/drawing/2014/main" id="{177D6D6E-FDC6-4A5B-B9DE-C448E57EA890}"/>
                </a:ext>
              </a:extLst>
            </p:cNvPr>
            <p:cNvSpPr txBox="1"/>
            <p:nvPr/>
          </p:nvSpPr>
          <p:spPr>
            <a:xfrm>
              <a:off x="2334364" y="3172300"/>
              <a:ext cx="17117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Acute HF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1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3095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テキスト ボックス 112">
            <a:extLst>
              <a:ext uri="{FF2B5EF4-FFF2-40B4-BE49-F238E27FC236}">
                <a16:creationId xmlns:a16="http://schemas.microsoft.com/office/drawing/2014/main" id="{0F7E01BA-EB97-49F2-925C-34C2814F1762}"/>
              </a:ext>
            </a:extLst>
          </p:cNvPr>
          <p:cNvSpPr txBox="1"/>
          <p:nvPr/>
        </p:nvSpPr>
        <p:spPr>
          <a:xfrm>
            <a:off x="1951195" y="995609"/>
            <a:ext cx="3540586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ゴシック" panose="020B0609070205080204" pitchFamily="49" charset="-128"/>
                <a:cs typeface="Arial" panose="020B0604020202020204" pitchFamily="34" charset="0"/>
              </a:rPr>
              <a:t>COVADIS Study (MVA) </a:t>
            </a:r>
            <a:endParaRPr kumimoji="1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ゴシック" panose="020B0609070205080204" pitchFamily="49" charset="-128"/>
              <a:cs typeface="Arial" panose="020B0604020202020204" pitchFamily="34" charset="0"/>
            </a:endParaRPr>
          </a:p>
        </p:txBody>
      </p:sp>
      <p:sp>
        <p:nvSpPr>
          <p:cNvPr id="64" name="テキスト ボックス 63"/>
          <p:cNvSpPr txBox="1"/>
          <p:nvPr/>
        </p:nvSpPr>
        <p:spPr>
          <a:xfrm>
            <a:off x="1055440" y="899138"/>
            <a:ext cx="444352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ゴシック" panose="020B0609070205080204" pitchFamily="49" charset="-128"/>
                <a:cs typeface="Arial" panose="020B0604020202020204" pitchFamily="34" charset="0"/>
              </a:rPr>
              <a:t>A</a:t>
            </a:r>
            <a:endParaRPr kumimoji="1" lang="ja-JP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ゴシック" panose="020B0609070205080204" pitchFamily="49" charset="-128"/>
              <a:cs typeface="Arial" panose="020B0604020202020204" pitchFamily="34" charset="0"/>
            </a:endParaRPr>
          </a:p>
        </p:txBody>
      </p:sp>
      <p:sp>
        <p:nvSpPr>
          <p:cNvPr id="124" name="テキスト ボックス 123">
            <a:extLst>
              <a:ext uri="{FF2B5EF4-FFF2-40B4-BE49-F238E27FC236}">
                <a16:creationId xmlns:a16="http://schemas.microsoft.com/office/drawing/2014/main" id="{16A259D0-6ADE-42D6-8C4F-669960969EF1}"/>
              </a:ext>
            </a:extLst>
          </p:cNvPr>
          <p:cNvSpPr txBox="1"/>
          <p:nvPr/>
        </p:nvSpPr>
        <p:spPr>
          <a:xfrm>
            <a:off x="6011688" y="899138"/>
            <a:ext cx="444352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rPr>
              <a:t>B</a:t>
            </a:r>
            <a:endParaRPr kumimoji="1" lang="ja-JP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8" name="テキスト ボックス 77">
            <a:extLst>
              <a:ext uri="{FF2B5EF4-FFF2-40B4-BE49-F238E27FC236}">
                <a16:creationId xmlns:a16="http://schemas.microsoft.com/office/drawing/2014/main" id="{C1493478-BF68-4C0E-8D19-0D3883804A1F}"/>
              </a:ext>
            </a:extLst>
          </p:cNvPr>
          <p:cNvSpPr txBox="1"/>
          <p:nvPr/>
        </p:nvSpPr>
        <p:spPr>
          <a:xfrm>
            <a:off x="1364061" y="179929"/>
            <a:ext cx="9844507" cy="584775"/>
          </a:xfrm>
          <a:prstGeom prst="rect">
            <a:avLst/>
          </a:prstGeom>
          <a:solidFill>
            <a:srgbClr val="0070C0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Comparison of Patient Prognosis</a:t>
            </a:r>
            <a:r>
              <a:rPr kumimoji="1" lang="ja-JP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（</a:t>
            </a:r>
            <a:r>
              <a:rPr kumimoji="1" lang="en-US" altLang="ja-JP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MVA vs. IHD</a:t>
            </a:r>
            <a:r>
              <a:rPr kumimoji="1" lang="ja-JP" alt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）</a:t>
            </a:r>
            <a:endParaRPr kumimoji="1" lang="ja-JP" alt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0F7E01BA-EB97-49F2-925C-34C2814F1762}"/>
              </a:ext>
            </a:extLst>
          </p:cNvPr>
          <p:cNvSpPr txBox="1"/>
          <p:nvPr/>
        </p:nvSpPr>
        <p:spPr>
          <a:xfrm>
            <a:off x="7108975" y="980728"/>
            <a:ext cx="3523529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ゴシック" panose="020B0609070205080204" pitchFamily="49" charset="-128"/>
                <a:cs typeface="Arial" panose="020B0604020202020204" pitchFamily="34" charset="0"/>
              </a:rPr>
              <a:t>ISCHEMIA Study (IHD) </a:t>
            </a:r>
            <a:endParaRPr kumimoji="1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ゴシック" panose="020B0609070205080204" pitchFamily="49" charset="-128"/>
              <a:cs typeface="Arial" panose="020B0604020202020204" pitchFamily="34" charset="0"/>
            </a:endParaRPr>
          </a:p>
        </p:txBody>
      </p:sp>
      <p:grpSp>
        <p:nvGrpSpPr>
          <p:cNvPr id="11" name="グループ化 10"/>
          <p:cNvGrpSpPr/>
          <p:nvPr/>
        </p:nvGrpSpPr>
        <p:grpSpPr>
          <a:xfrm>
            <a:off x="6240600" y="1537628"/>
            <a:ext cx="5651440" cy="4988547"/>
            <a:chOff x="6240600" y="1537628"/>
            <a:chExt cx="5651440" cy="4988547"/>
          </a:xfrm>
        </p:grpSpPr>
        <p:sp>
          <p:nvSpPr>
            <p:cNvPr id="123" name="テキスト ボックス 122"/>
            <p:cNvSpPr txBox="1"/>
            <p:nvPr/>
          </p:nvSpPr>
          <p:spPr>
            <a:xfrm>
              <a:off x="6456040" y="6187621"/>
              <a:ext cx="5436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(</a:t>
              </a:r>
              <a:r>
                <a:rPr kumimoji="1" lang="en-US" altLang="ja-JP" sz="16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Maron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DJ, et al.  </a:t>
              </a:r>
              <a:r>
                <a:rPr kumimoji="1" lang="en-US" altLang="ja-JP" sz="16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N </a:t>
              </a:r>
              <a:r>
                <a:rPr kumimoji="1" lang="en-US" altLang="ja-JP" sz="16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Engl</a:t>
              </a:r>
              <a:r>
                <a:rPr kumimoji="1" lang="en-US" altLang="ja-JP" sz="16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J Med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.  2020;382:1395-1407.)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saka" pitchFamily="32" charset="-128"/>
                <a:cs typeface="Arial" panose="020B0604020202020204" pitchFamily="34" charset="0"/>
              </a:endParaRPr>
            </a:p>
          </p:txBody>
        </p:sp>
        <p:grpSp>
          <p:nvGrpSpPr>
            <p:cNvPr id="9" name="グループ化 8"/>
            <p:cNvGrpSpPr/>
            <p:nvPr/>
          </p:nvGrpSpPr>
          <p:grpSpPr>
            <a:xfrm>
              <a:off x="6240600" y="1700808"/>
              <a:ext cx="5256000" cy="4176464"/>
              <a:chOff x="6240600" y="1700808"/>
              <a:chExt cx="5256000" cy="4176464"/>
            </a:xfrm>
          </p:grpSpPr>
          <p:pic>
            <p:nvPicPr>
              <p:cNvPr id="4" name="図 3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240600" y="1846679"/>
                <a:ext cx="5256000" cy="4030593"/>
              </a:xfrm>
              <a:prstGeom prst="rect">
                <a:avLst/>
              </a:prstGeom>
            </p:spPr>
          </p:pic>
          <p:sp>
            <p:nvSpPr>
              <p:cNvPr id="8" name="テキスト ボックス 7"/>
              <p:cNvSpPr txBox="1"/>
              <p:nvPr/>
            </p:nvSpPr>
            <p:spPr>
              <a:xfrm>
                <a:off x="6744072" y="1700808"/>
                <a:ext cx="4262705" cy="46166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2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" charset="0"/>
                    <a:ea typeface="Osaka" pitchFamily="32" charset="-128"/>
                    <a:cs typeface="+mn-cs"/>
                  </a:rPr>
                  <a:t>                                                     </a:t>
                </a:r>
                <a:endParaRPr kumimoji="1" lang="ja-JP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" charset="0"/>
                  <a:ea typeface="Osaka" pitchFamily="32" charset="-128"/>
                  <a:cs typeface="+mn-cs"/>
                </a:endParaRPr>
              </a:p>
            </p:txBody>
          </p:sp>
          <p:sp>
            <p:nvSpPr>
              <p:cNvPr id="47" name="テキスト ボックス 46"/>
              <p:cNvSpPr txBox="1"/>
              <p:nvPr/>
            </p:nvSpPr>
            <p:spPr>
              <a:xfrm>
                <a:off x="9270940" y="2452826"/>
                <a:ext cx="1051891" cy="400110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2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Osaka" pitchFamily="32" charset="-128"/>
                    <a:cs typeface="Arial" panose="020B0604020202020204" pitchFamily="34" charset="0"/>
                  </a:rPr>
                  <a:t>5.0%/</a:t>
                </a:r>
                <a:r>
                  <a:rPr kumimoji="1" lang="en-US" altLang="ja-JP" sz="20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Osaka" pitchFamily="32" charset="-128"/>
                    <a:cs typeface="Arial" panose="020B0604020202020204" pitchFamily="34" charset="0"/>
                  </a:rPr>
                  <a:t>yr</a:t>
                </a:r>
                <a:endParaRPr kumimoji="1" lang="ja-JP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0" name="テキスト ボックス 49"/>
            <p:cNvSpPr txBox="1"/>
            <p:nvPr/>
          </p:nvSpPr>
          <p:spPr>
            <a:xfrm>
              <a:off x="7448315" y="1537628"/>
              <a:ext cx="4153701" cy="523220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Major endpoints</a:t>
              </a: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: CV death,</a:t>
              </a:r>
              <a:r>
                <a:rPr kumimoji="1" lang="ja-JP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</a:t>
              </a: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AMI, Admission</a:t>
              </a:r>
              <a:r>
                <a:rPr kumimoji="1" lang="ja-JP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</a:t>
              </a:r>
              <a:endParaRPr kumimoji="1" lang="en-US" altLang="ja-JP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saka" pitchFamily="32" charset="-128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(Unstable AP, </a:t>
              </a:r>
              <a:r>
                <a:rPr kumimoji="1" lang="ja-JP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</a:t>
              </a: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HF, resuscitated cardiac arrest</a:t>
              </a:r>
              <a:r>
                <a:rPr kumimoji="1" lang="ja-JP" alt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）</a:t>
              </a: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 </a:t>
              </a:r>
            </a:p>
          </p:txBody>
        </p:sp>
        <p:cxnSp>
          <p:nvCxnSpPr>
            <p:cNvPr id="12" name="直線コネクタ 11"/>
            <p:cNvCxnSpPr/>
            <p:nvPr/>
          </p:nvCxnSpPr>
          <p:spPr>
            <a:xfrm>
              <a:off x="6816080" y="4509120"/>
              <a:ext cx="410445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コネクタ 13"/>
            <p:cNvCxnSpPr/>
            <p:nvPr/>
          </p:nvCxnSpPr>
          <p:spPr>
            <a:xfrm flipV="1">
              <a:off x="6816080" y="1990355"/>
              <a:ext cx="0" cy="251876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グループ化 4"/>
          <p:cNvGrpSpPr/>
          <p:nvPr/>
        </p:nvGrpSpPr>
        <p:grpSpPr>
          <a:xfrm>
            <a:off x="695400" y="1751810"/>
            <a:ext cx="5484019" cy="4770487"/>
            <a:chOff x="695400" y="1751810"/>
            <a:chExt cx="5484019" cy="4770487"/>
          </a:xfrm>
        </p:grpSpPr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74AEDEC5-D4E6-44A6-8E03-7F4BD93F06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2553"/>
            <a:stretch/>
          </p:blipFill>
          <p:spPr>
            <a:xfrm>
              <a:off x="1408211" y="1776761"/>
              <a:ext cx="4389395" cy="3254439"/>
            </a:xfrm>
            <a:prstGeom prst="rect">
              <a:avLst/>
            </a:prstGeom>
          </p:spPr>
        </p:pic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A75BDF8D-9FD1-4C92-9D46-FA3090ADAC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688" t="4659" r="4852" b="13366"/>
            <a:stretch/>
          </p:blipFill>
          <p:spPr>
            <a:xfrm>
              <a:off x="1719877" y="1894168"/>
              <a:ext cx="3984133" cy="2698074"/>
            </a:xfrm>
            <a:prstGeom prst="rect">
              <a:avLst/>
            </a:prstGeom>
          </p:spPr>
        </p:pic>
        <p:pic>
          <p:nvPicPr>
            <p:cNvPr id="3" name="図 2">
              <a:extLst>
                <a:ext uri="{FF2B5EF4-FFF2-40B4-BE49-F238E27FC236}">
                  <a16:creationId xmlns:a16="http://schemas.microsoft.com/office/drawing/2014/main" id="{AC98D9E6-7AB2-44A7-BBBF-6FE5B605C4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205" t="4372" r="4242" b="13381"/>
            <a:stretch/>
          </p:blipFill>
          <p:spPr>
            <a:xfrm>
              <a:off x="1736092" y="1913579"/>
              <a:ext cx="3992038" cy="2680100"/>
            </a:xfrm>
            <a:prstGeom prst="rect">
              <a:avLst/>
            </a:prstGeom>
          </p:spPr>
        </p:pic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D3BDDBD1-E807-40A4-947A-F014D42B17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051" t="6435" r="4263" b="13569"/>
            <a:stretch/>
          </p:blipFill>
          <p:spPr>
            <a:xfrm>
              <a:off x="1645880" y="1990355"/>
              <a:ext cx="4034095" cy="262902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1B6B8597-FBD9-4BFF-B8FA-B7A6896005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042" t="5946" r="4852" b="12659"/>
            <a:stretch/>
          </p:blipFill>
          <p:spPr>
            <a:xfrm>
              <a:off x="1687977" y="1945929"/>
              <a:ext cx="4015866" cy="2680454"/>
            </a:xfrm>
            <a:prstGeom prst="rect">
              <a:avLst/>
            </a:prstGeom>
          </p:spPr>
        </p:pic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D3078DDC-3F62-411E-9D01-554C7D2F2C51}"/>
                </a:ext>
              </a:extLst>
            </p:cNvPr>
            <p:cNvSpPr txBox="1"/>
            <p:nvPr/>
          </p:nvSpPr>
          <p:spPr>
            <a:xfrm>
              <a:off x="1354946" y="1751810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4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F7266CDC-0D66-48BB-A1A2-21D4E5A7A3B7}"/>
                </a:ext>
              </a:extLst>
            </p:cNvPr>
            <p:cNvSpPr txBox="1"/>
            <p:nvPr/>
          </p:nvSpPr>
          <p:spPr>
            <a:xfrm>
              <a:off x="1354946" y="2427570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3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5" name="テキスト ボックス 24">
              <a:extLst>
                <a:ext uri="{FF2B5EF4-FFF2-40B4-BE49-F238E27FC236}">
                  <a16:creationId xmlns:a16="http://schemas.microsoft.com/office/drawing/2014/main" id="{17E6C44B-D6B8-463B-AE38-29063CF48E43}"/>
                </a:ext>
              </a:extLst>
            </p:cNvPr>
            <p:cNvSpPr txBox="1"/>
            <p:nvPr/>
          </p:nvSpPr>
          <p:spPr>
            <a:xfrm>
              <a:off x="1364788" y="3086639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2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7" name="テキスト ボックス 26">
              <a:extLst>
                <a:ext uri="{FF2B5EF4-FFF2-40B4-BE49-F238E27FC236}">
                  <a16:creationId xmlns:a16="http://schemas.microsoft.com/office/drawing/2014/main" id="{DF3FE6E8-4D1A-4CEC-8F09-7B50885705E5}"/>
                </a:ext>
              </a:extLst>
            </p:cNvPr>
            <p:cNvSpPr txBox="1"/>
            <p:nvPr/>
          </p:nvSpPr>
          <p:spPr>
            <a:xfrm>
              <a:off x="1352489" y="3788608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1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84F42A52-FB6D-46B4-8C1C-5916B9C810A3}"/>
                </a:ext>
              </a:extLst>
            </p:cNvPr>
            <p:cNvSpPr txBox="1"/>
            <p:nvPr/>
          </p:nvSpPr>
          <p:spPr>
            <a:xfrm>
              <a:off x="1425036" y="4445398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59" name="テキスト ボックス 58">
              <a:extLst>
                <a:ext uri="{FF2B5EF4-FFF2-40B4-BE49-F238E27FC236}">
                  <a16:creationId xmlns:a16="http://schemas.microsoft.com/office/drawing/2014/main" id="{D8BF6BD1-C60D-4B26-BEFC-C2D9E929E40C}"/>
                </a:ext>
              </a:extLst>
            </p:cNvPr>
            <p:cNvSpPr txBox="1"/>
            <p:nvPr/>
          </p:nvSpPr>
          <p:spPr>
            <a:xfrm>
              <a:off x="1475731" y="5580110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678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1" name="テキスト ボックス 60">
              <a:extLst>
                <a:ext uri="{FF2B5EF4-FFF2-40B4-BE49-F238E27FC236}">
                  <a16:creationId xmlns:a16="http://schemas.microsoft.com/office/drawing/2014/main" id="{E77B755B-9FA0-426F-8537-739EB95877A4}"/>
                </a:ext>
              </a:extLst>
            </p:cNvPr>
            <p:cNvSpPr txBox="1"/>
            <p:nvPr/>
          </p:nvSpPr>
          <p:spPr>
            <a:xfrm>
              <a:off x="2220169" y="5585070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637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3" name="テキスト ボックス 62">
              <a:extLst>
                <a:ext uri="{FF2B5EF4-FFF2-40B4-BE49-F238E27FC236}">
                  <a16:creationId xmlns:a16="http://schemas.microsoft.com/office/drawing/2014/main" id="{744457BE-8C83-4673-8C99-9AFE3152BA53}"/>
                </a:ext>
              </a:extLst>
            </p:cNvPr>
            <p:cNvSpPr txBox="1"/>
            <p:nvPr/>
          </p:nvSpPr>
          <p:spPr>
            <a:xfrm>
              <a:off x="2933061" y="5591032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336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5" name="テキスト ボックス 64">
              <a:extLst>
                <a:ext uri="{FF2B5EF4-FFF2-40B4-BE49-F238E27FC236}">
                  <a16:creationId xmlns:a16="http://schemas.microsoft.com/office/drawing/2014/main" id="{BAE230E1-0A29-43D9-9082-527177F0CCE7}"/>
                </a:ext>
              </a:extLst>
            </p:cNvPr>
            <p:cNvSpPr txBox="1"/>
            <p:nvPr/>
          </p:nvSpPr>
          <p:spPr>
            <a:xfrm>
              <a:off x="3643185" y="5591032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227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7" name="テキスト ボックス 66">
              <a:extLst>
                <a:ext uri="{FF2B5EF4-FFF2-40B4-BE49-F238E27FC236}">
                  <a16:creationId xmlns:a16="http://schemas.microsoft.com/office/drawing/2014/main" id="{0C979BC8-6B58-407F-AE2D-AECC92CAE9AA}"/>
                </a:ext>
              </a:extLst>
            </p:cNvPr>
            <p:cNvSpPr txBox="1"/>
            <p:nvPr/>
          </p:nvSpPr>
          <p:spPr>
            <a:xfrm>
              <a:off x="4353501" y="5592690"/>
              <a:ext cx="48282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144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69" name="テキスト ボックス 68">
              <a:extLst>
                <a:ext uri="{FF2B5EF4-FFF2-40B4-BE49-F238E27FC236}">
                  <a16:creationId xmlns:a16="http://schemas.microsoft.com/office/drawing/2014/main" id="{6978C8F7-D5A8-4A63-8696-06FCA629FFF1}"/>
                </a:ext>
              </a:extLst>
            </p:cNvPr>
            <p:cNvSpPr txBox="1"/>
            <p:nvPr/>
          </p:nvSpPr>
          <p:spPr>
            <a:xfrm>
              <a:off x="5158186" y="5591032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95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71" name="テキスト ボックス 70">
              <a:extLst>
                <a:ext uri="{FF2B5EF4-FFF2-40B4-BE49-F238E27FC236}">
                  <a16:creationId xmlns:a16="http://schemas.microsoft.com/office/drawing/2014/main" id="{2DB03AB3-5CD2-4D87-83EB-9AF9C8857A96}"/>
                </a:ext>
              </a:extLst>
            </p:cNvPr>
            <p:cNvSpPr txBox="1"/>
            <p:nvPr/>
          </p:nvSpPr>
          <p:spPr>
            <a:xfrm>
              <a:off x="1162270" y="5210365"/>
              <a:ext cx="110974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No. at risk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sp>
          <p:nvSpPr>
            <p:cNvPr id="73" name="テキスト ボックス 72">
              <a:extLst>
                <a:ext uri="{FF2B5EF4-FFF2-40B4-BE49-F238E27FC236}">
                  <a16:creationId xmlns:a16="http://schemas.microsoft.com/office/drawing/2014/main" id="{2E235EE3-1BCC-4409-90BD-FB5E26743670}"/>
                </a:ext>
              </a:extLst>
            </p:cNvPr>
            <p:cNvSpPr txBox="1"/>
            <p:nvPr/>
          </p:nvSpPr>
          <p:spPr>
            <a:xfrm>
              <a:off x="1577849" y="4602336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75" name="テキスト ボックス 74">
              <a:extLst>
                <a:ext uri="{FF2B5EF4-FFF2-40B4-BE49-F238E27FC236}">
                  <a16:creationId xmlns:a16="http://schemas.microsoft.com/office/drawing/2014/main" id="{F36B6018-E2FF-49BB-8BE2-3304BFE7927F}"/>
                </a:ext>
              </a:extLst>
            </p:cNvPr>
            <p:cNvSpPr txBox="1"/>
            <p:nvPr/>
          </p:nvSpPr>
          <p:spPr>
            <a:xfrm>
              <a:off x="2307522" y="4595012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6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77" name="テキスト ボックス 76">
              <a:extLst>
                <a:ext uri="{FF2B5EF4-FFF2-40B4-BE49-F238E27FC236}">
                  <a16:creationId xmlns:a16="http://schemas.microsoft.com/office/drawing/2014/main" id="{E4F65C68-043E-4D6B-8FF3-64AEA01C86DC}"/>
                </a:ext>
              </a:extLst>
            </p:cNvPr>
            <p:cNvSpPr txBox="1"/>
            <p:nvPr/>
          </p:nvSpPr>
          <p:spPr>
            <a:xfrm>
              <a:off x="3680495" y="4600441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18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79" name="テキスト ボックス 78">
              <a:extLst>
                <a:ext uri="{FF2B5EF4-FFF2-40B4-BE49-F238E27FC236}">
                  <a16:creationId xmlns:a16="http://schemas.microsoft.com/office/drawing/2014/main" id="{AEBCB44A-C552-4E94-9BB9-71BE291BF28B}"/>
                </a:ext>
              </a:extLst>
            </p:cNvPr>
            <p:cNvSpPr txBox="1"/>
            <p:nvPr/>
          </p:nvSpPr>
          <p:spPr>
            <a:xfrm>
              <a:off x="4413143" y="4595012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24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81" name="テキスト ボックス 80">
              <a:extLst>
                <a:ext uri="{FF2B5EF4-FFF2-40B4-BE49-F238E27FC236}">
                  <a16:creationId xmlns:a16="http://schemas.microsoft.com/office/drawing/2014/main" id="{01CBAFB0-7457-4822-9C38-E4B5A880101B}"/>
                </a:ext>
              </a:extLst>
            </p:cNvPr>
            <p:cNvSpPr txBox="1"/>
            <p:nvPr/>
          </p:nvSpPr>
          <p:spPr>
            <a:xfrm>
              <a:off x="2967489" y="4600441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12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83" name="テキスト ボックス 82">
              <a:extLst>
                <a:ext uri="{FF2B5EF4-FFF2-40B4-BE49-F238E27FC236}">
                  <a16:creationId xmlns:a16="http://schemas.microsoft.com/office/drawing/2014/main" id="{27D660D1-EE42-40C2-BCAE-8760C31FF109}"/>
                </a:ext>
              </a:extLst>
            </p:cNvPr>
            <p:cNvSpPr txBox="1"/>
            <p:nvPr/>
          </p:nvSpPr>
          <p:spPr>
            <a:xfrm>
              <a:off x="5138135" y="4580696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30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2" name="テキスト ボックス 1"/>
            <p:cNvSpPr txBox="1"/>
            <p:nvPr/>
          </p:nvSpPr>
          <p:spPr>
            <a:xfrm>
              <a:off x="4344565" y="2699628"/>
              <a:ext cx="1051891" cy="40011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7.7%/</a:t>
              </a:r>
              <a:r>
                <a:rPr kumimoji="1" lang="en-US" altLang="ja-JP" sz="2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Osaka" pitchFamily="32" charset="-128"/>
                  <a:cs typeface="Arial" panose="020B0604020202020204" pitchFamily="34" charset="0"/>
                </a:rPr>
                <a:t>yr</a:t>
              </a:r>
              <a:endParaRPr kumimoji="1" lang="ja-JP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Osaka" pitchFamily="32" charset="-128"/>
                <a:cs typeface="Arial" panose="020B0604020202020204" pitchFamily="34" charset="0"/>
              </a:endParaRPr>
            </a:p>
          </p:txBody>
        </p:sp>
        <p:sp>
          <p:nvSpPr>
            <p:cNvPr id="51" name="テキスト ボックス 14">
              <a:extLst>
                <a:ext uri="{FF2B5EF4-FFF2-40B4-BE49-F238E27FC236}">
                  <a16:creationId xmlns:a16="http://schemas.microsoft.com/office/drawing/2014/main" id="{9F1D8886-5F0C-43F1-A8B0-8E96CF2EF8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5400" y="6183743"/>
              <a:ext cx="548401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(Shimokawa H, et al. 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 </a:t>
              </a:r>
              <a:r>
                <a:rPr kumimoji="1" lang="en-US" altLang="ja-JP" sz="1600" b="1" i="1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Eur</a:t>
              </a:r>
              <a:r>
                <a:rPr kumimoji="1" lang="en-US" altLang="ja-JP" sz="16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 </a:t>
              </a:r>
              <a:r>
                <a:rPr kumimoji="1" lang="en-US" altLang="ja-JP" sz="16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Heart J</a:t>
              </a:r>
              <a:r>
                <a:rPr kumimoji="1" lang="en-US" altLang="ja-JP" sz="16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. 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charset="-128"/>
                  <a:cs typeface="Arial" panose="020B0604020202020204" pitchFamily="34" charset="0"/>
                </a:rPr>
                <a:t> 2021;42:4592-4600.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)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sp>
          <p:nvSpPr>
            <p:cNvPr id="53" name="テキスト ボックス 52">
              <a:extLst>
                <a:ext uri="{FF2B5EF4-FFF2-40B4-BE49-F238E27FC236}">
                  <a16:creationId xmlns:a16="http://schemas.microsoft.com/office/drawing/2014/main" id="{3985D054-B08C-4C01-809F-AF6AE85456DC}"/>
                </a:ext>
              </a:extLst>
            </p:cNvPr>
            <p:cNvSpPr txBox="1"/>
            <p:nvPr/>
          </p:nvSpPr>
          <p:spPr>
            <a:xfrm>
              <a:off x="2423592" y="4935911"/>
              <a:ext cx="252891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Follow-up</a:t>
              </a:r>
              <a:r>
                <a:rPr kumimoji="1" lang="en-US" altLang="ja-JP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 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(Months)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ゴシック" panose="020B0609070205080204" pitchFamily="49" charset="-128"/>
                <a:cs typeface="Arial" panose="020B0604020202020204" pitchFamily="34" charset="0"/>
              </a:endParaRPr>
            </a:p>
          </p:txBody>
        </p:sp>
        <p:sp>
          <p:nvSpPr>
            <p:cNvPr id="54" name="テキスト ボックス 53">
              <a:extLst>
                <a:ext uri="{FF2B5EF4-FFF2-40B4-BE49-F238E27FC236}">
                  <a16:creationId xmlns:a16="http://schemas.microsoft.com/office/drawing/2014/main" id="{6EEEF254-22E9-447F-896C-B287931A0AA7}"/>
                </a:ext>
              </a:extLst>
            </p:cNvPr>
            <p:cNvSpPr txBox="1"/>
            <p:nvPr/>
          </p:nvSpPr>
          <p:spPr>
            <a:xfrm rot="16200000">
              <a:off x="-296594" y="3002320"/>
              <a:ext cx="279756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Cumulative event rate </a:t>
              </a:r>
              <a:r>
                <a:rPr kumimoji="1" lang="en-US" altLang="ja-JP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Arial" charset="0"/>
                  <a:cs typeface="Arial" panose="020B0604020202020204" pitchFamily="34" charset="0"/>
                </a:rPr>
                <a:t>(%)</a:t>
              </a:r>
              <a:endPara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cxnSp>
          <p:nvCxnSpPr>
            <p:cNvPr id="55" name="直線コネクタ 54">
              <a:extLst>
                <a:ext uri="{FF2B5EF4-FFF2-40B4-BE49-F238E27FC236}">
                  <a16:creationId xmlns:a16="http://schemas.microsoft.com/office/drawing/2014/main" id="{AFBCCD09-7CA8-4C38-9F3D-EE772B0188EB}"/>
                </a:ext>
              </a:extLst>
            </p:cNvPr>
            <p:cNvCxnSpPr>
              <a:cxnSpLocks/>
            </p:cNvCxnSpPr>
            <p:nvPr/>
          </p:nvCxnSpPr>
          <p:spPr>
            <a:xfrm>
              <a:off x="1847528" y="2148867"/>
              <a:ext cx="486000" cy="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テキスト ボックス 55">
              <a:extLst>
                <a:ext uri="{FF2B5EF4-FFF2-40B4-BE49-F238E27FC236}">
                  <a16:creationId xmlns:a16="http://schemas.microsoft.com/office/drawing/2014/main" id="{01D0B7CE-5AA3-4C1B-B488-A28A9D38FE1A}"/>
                </a:ext>
              </a:extLst>
            </p:cNvPr>
            <p:cNvSpPr txBox="1"/>
            <p:nvPr/>
          </p:nvSpPr>
          <p:spPr>
            <a:xfrm>
              <a:off x="2320346" y="1979117"/>
              <a:ext cx="132553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Total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78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57" name="直線コネクタ 56">
              <a:extLst>
                <a:ext uri="{FF2B5EF4-FFF2-40B4-BE49-F238E27FC236}">
                  <a16:creationId xmlns:a16="http://schemas.microsoft.com/office/drawing/2014/main" id="{DA0F0F6D-EE7F-402C-A86E-AECEE370CBC7}"/>
                </a:ext>
              </a:extLst>
            </p:cNvPr>
            <p:cNvCxnSpPr>
              <a:cxnSpLocks/>
            </p:cNvCxnSpPr>
            <p:nvPr/>
          </p:nvCxnSpPr>
          <p:spPr>
            <a:xfrm>
              <a:off x="1847528" y="2438385"/>
              <a:ext cx="486000" cy="0"/>
            </a:xfrm>
            <a:prstGeom prst="line">
              <a:avLst/>
            </a:prstGeom>
            <a:ln w="3175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テキスト ボックス 57">
              <a:extLst>
                <a:ext uri="{FF2B5EF4-FFF2-40B4-BE49-F238E27FC236}">
                  <a16:creationId xmlns:a16="http://schemas.microsoft.com/office/drawing/2014/main" id="{50CE205D-7DE4-47CA-9032-C2EE9957B0B9}"/>
                </a:ext>
              </a:extLst>
            </p:cNvPr>
            <p:cNvSpPr txBox="1"/>
            <p:nvPr/>
          </p:nvSpPr>
          <p:spPr>
            <a:xfrm>
              <a:off x="2339104" y="2586876"/>
              <a:ext cx="176910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CV death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9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60" name="直線コネクタ 59">
              <a:extLst>
                <a:ext uri="{FF2B5EF4-FFF2-40B4-BE49-F238E27FC236}">
                  <a16:creationId xmlns:a16="http://schemas.microsoft.com/office/drawing/2014/main" id="{A47CAF16-CED7-4035-8BB4-241D8E1B568F}"/>
                </a:ext>
              </a:extLst>
            </p:cNvPr>
            <p:cNvCxnSpPr>
              <a:cxnSpLocks/>
            </p:cNvCxnSpPr>
            <p:nvPr/>
          </p:nvCxnSpPr>
          <p:spPr>
            <a:xfrm>
              <a:off x="1847528" y="3011329"/>
              <a:ext cx="486000" cy="0"/>
            </a:xfrm>
            <a:prstGeom prst="line">
              <a:avLst/>
            </a:prstGeom>
            <a:ln w="3175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テキスト ボックス 61">
              <a:extLst>
                <a:ext uri="{FF2B5EF4-FFF2-40B4-BE49-F238E27FC236}">
                  <a16:creationId xmlns:a16="http://schemas.microsoft.com/office/drawing/2014/main" id="{BBFC0D73-5944-4E05-8BCB-6173F68BB391}"/>
                </a:ext>
              </a:extLst>
            </p:cNvPr>
            <p:cNvSpPr txBox="1"/>
            <p:nvPr/>
          </p:nvSpPr>
          <p:spPr>
            <a:xfrm>
              <a:off x="2333530" y="2881591"/>
              <a:ext cx="132916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AMI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5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66" name="直線コネクタ 65">
              <a:extLst>
                <a:ext uri="{FF2B5EF4-FFF2-40B4-BE49-F238E27FC236}">
                  <a16:creationId xmlns:a16="http://schemas.microsoft.com/office/drawing/2014/main" id="{BE96341A-3B1A-46F7-89F7-F8B77DB5C329}"/>
                </a:ext>
              </a:extLst>
            </p:cNvPr>
            <p:cNvCxnSpPr>
              <a:cxnSpLocks/>
            </p:cNvCxnSpPr>
            <p:nvPr/>
          </p:nvCxnSpPr>
          <p:spPr>
            <a:xfrm>
              <a:off x="1847528" y="2724931"/>
              <a:ext cx="486000" cy="0"/>
            </a:xfrm>
            <a:prstGeom prst="line">
              <a:avLst/>
            </a:prstGeom>
            <a:ln w="317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4CBC53A4-1BCE-4C6D-8835-F72CE7F79B10}"/>
                </a:ext>
              </a:extLst>
            </p:cNvPr>
            <p:cNvSpPr txBox="1"/>
            <p:nvPr/>
          </p:nvSpPr>
          <p:spPr>
            <a:xfrm>
              <a:off x="2333528" y="2284500"/>
              <a:ext cx="181331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Unstable AP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63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  <p:cxnSp>
          <p:nvCxnSpPr>
            <p:cNvPr id="70" name="直線コネクタ 69">
              <a:extLst>
                <a:ext uri="{FF2B5EF4-FFF2-40B4-BE49-F238E27FC236}">
                  <a16:creationId xmlns:a16="http://schemas.microsoft.com/office/drawing/2014/main" id="{A556765E-D03C-4DFD-889B-88D88E8D94C3}"/>
                </a:ext>
              </a:extLst>
            </p:cNvPr>
            <p:cNvCxnSpPr>
              <a:cxnSpLocks/>
            </p:cNvCxnSpPr>
            <p:nvPr/>
          </p:nvCxnSpPr>
          <p:spPr>
            <a:xfrm>
              <a:off x="1849479" y="3319106"/>
              <a:ext cx="486000" cy="0"/>
            </a:xfrm>
            <a:prstGeom prst="line">
              <a:avLst/>
            </a:prstGeom>
            <a:ln w="31750">
              <a:solidFill>
                <a:srgbClr val="01AF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テキスト ボックス 71">
              <a:extLst>
                <a:ext uri="{FF2B5EF4-FFF2-40B4-BE49-F238E27FC236}">
                  <a16:creationId xmlns:a16="http://schemas.microsoft.com/office/drawing/2014/main" id="{177D6D6E-FDC6-4A5B-B9DE-C448E57EA890}"/>
                </a:ext>
              </a:extLst>
            </p:cNvPr>
            <p:cNvSpPr txBox="1"/>
            <p:nvPr/>
          </p:nvSpPr>
          <p:spPr>
            <a:xfrm>
              <a:off x="2334364" y="3172300"/>
              <a:ext cx="17117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ゴシック" panose="020B0609070205080204" pitchFamily="49" charset="-128"/>
                  <a:cs typeface="Arial" panose="020B0604020202020204" pitchFamily="34" charset="0"/>
                </a:rPr>
                <a:t>Acute HF </a:t>
              </a:r>
              <a:r>
                <a:rPr kumimoji="1" lang="en-US" altLang="ja-JP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游ゴシック" panose="020B0400000000000000" pitchFamily="50" charset="-128"/>
                  <a:cs typeface="Arial" panose="020B0604020202020204" pitchFamily="34" charset="0"/>
                </a:rPr>
                <a:t>(N=1)</a:t>
              </a:r>
              <a:endPara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游ゴシック" panose="020B0400000000000000" pitchFamily="50" charset="-128"/>
                <a:cs typeface="Arial" panose="020B0604020202020204" pitchFamily="34" charset="0"/>
              </a:endParaRPr>
            </a:p>
          </p:txBody>
        </p:sp>
      </p:grpSp>
      <p:sp>
        <p:nvSpPr>
          <p:cNvPr id="13" name="テキスト ボックス 12"/>
          <p:cNvSpPr txBox="1"/>
          <p:nvPr/>
        </p:nvSpPr>
        <p:spPr>
          <a:xfrm>
            <a:off x="1424498" y="692696"/>
            <a:ext cx="10000094" cy="5816977"/>
          </a:xfrm>
          <a:prstGeom prst="rect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ja-JP" dirty="0" smtClean="0"/>
              <a:t>      </a:t>
            </a:r>
          </a:p>
          <a:p>
            <a:pPr algn="ctr"/>
            <a:r>
              <a:rPr lang="en-US" altLang="ja-JP" dirty="0" smtClean="0"/>
              <a:t> </a:t>
            </a:r>
            <a:r>
              <a:rPr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maining Questions</a:t>
            </a:r>
          </a:p>
          <a:p>
            <a:pPr algn="ctr"/>
            <a:endParaRPr lang="en-US" altLang="ja-JP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thnic and sex differences in</a:t>
            </a:r>
          </a:p>
          <a:p>
            <a:pPr algn="ctr"/>
            <a:endParaRPr lang="en-US" altLang="ja-JP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1. Clinical characteristics</a:t>
            </a:r>
          </a:p>
          <a:p>
            <a:endParaRPr lang="en-US" altLang="ja-JP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2. Treatments</a:t>
            </a:r>
          </a:p>
          <a:p>
            <a:endParaRPr lang="en-US" altLang="ja-JP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3. Long-term prognosis</a:t>
            </a:r>
            <a:endParaRPr lang="en-US" altLang="ja-JP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443600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Freeform 3"/>
          <p:cNvSpPr>
            <a:spLocks/>
          </p:cNvSpPr>
          <p:nvPr/>
        </p:nvSpPr>
        <p:spPr bwMode="auto">
          <a:xfrm>
            <a:off x="7053256" y="4511675"/>
            <a:ext cx="576000" cy="452437"/>
          </a:xfrm>
          <a:custGeom>
            <a:avLst/>
            <a:gdLst>
              <a:gd name="T0" fmla="*/ 47 w 408"/>
              <a:gd name="T1" fmla="*/ 63 h 409"/>
              <a:gd name="T2" fmla="*/ 95 w 408"/>
              <a:gd name="T3" fmla="*/ 32 h 409"/>
              <a:gd name="T4" fmla="*/ 111 w 408"/>
              <a:gd name="T5" fmla="*/ 47 h 409"/>
              <a:gd name="T6" fmla="*/ 142 w 408"/>
              <a:gd name="T7" fmla="*/ 47 h 409"/>
              <a:gd name="T8" fmla="*/ 174 w 408"/>
              <a:gd name="T9" fmla="*/ 0 h 409"/>
              <a:gd name="T10" fmla="*/ 221 w 408"/>
              <a:gd name="T11" fmla="*/ 16 h 409"/>
              <a:gd name="T12" fmla="*/ 284 w 408"/>
              <a:gd name="T13" fmla="*/ 95 h 409"/>
              <a:gd name="T14" fmla="*/ 253 w 408"/>
              <a:gd name="T15" fmla="*/ 127 h 409"/>
              <a:gd name="T16" fmla="*/ 269 w 408"/>
              <a:gd name="T17" fmla="*/ 158 h 409"/>
              <a:gd name="T18" fmla="*/ 237 w 408"/>
              <a:gd name="T19" fmla="*/ 174 h 409"/>
              <a:gd name="T20" fmla="*/ 237 w 408"/>
              <a:gd name="T21" fmla="*/ 237 h 409"/>
              <a:gd name="T22" fmla="*/ 205 w 408"/>
              <a:gd name="T23" fmla="*/ 253 h 409"/>
              <a:gd name="T24" fmla="*/ 142 w 408"/>
              <a:gd name="T25" fmla="*/ 253 h 409"/>
              <a:gd name="T26" fmla="*/ 95 w 408"/>
              <a:gd name="T27" fmla="*/ 285 h 409"/>
              <a:gd name="T28" fmla="*/ 63 w 408"/>
              <a:gd name="T29" fmla="*/ 285 h 409"/>
              <a:gd name="T30" fmla="*/ 47 w 408"/>
              <a:gd name="T31" fmla="*/ 253 h 409"/>
              <a:gd name="T32" fmla="*/ 0 w 408"/>
              <a:gd name="T33" fmla="*/ 237 h 409"/>
              <a:gd name="T34" fmla="*/ 0 w 408"/>
              <a:gd name="T35" fmla="*/ 222 h 409"/>
              <a:gd name="T36" fmla="*/ 47 w 408"/>
              <a:gd name="T37" fmla="*/ 158 h 409"/>
              <a:gd name="T38" fmla="*/ 16 w 408"/>
              <a:gd name="T39" fmla="*/ 127 h 409"/>
              <a:gd name="T40" fmla="*/ 16 w 408"/>
              <a:gd name="T41" fmla="*/ 111 h 409"/>
              <a:gd name="T42" fmla="*/ 47 w 408"/>
              <a:gd name="T43" fmla="*/ 95 h 409"/>
              <a:gd name="T44" fmla="*/ 47 w 408"/>
              <a:gd name="T45" fmla="*/ 63 h 40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08" h="409">
                <a:moveTo>
                  <a:pt x="68" y="91"/>
                </a:moveTo>
                <a:lnTo>
                  <a:pt x="136" y="46"/>
                </a:lnTo>
                <a:lnTo>
                  <a:pt x="159" y="68"/>
                </a:lnTo>
                <a:lnTo>
                  <a:pt x="204" y="68"/>
                </a:lnTo>
                <a:lnTo>
                  <a:pt x="250" y="0"/>
                </a:lnTo>
                <a:lnTo>
                  <a:pt x="318" y="23"/>
                </a:lnTo>
                <a:lnTo>
                  <a:pt x="408" y="136"/>
                </a:lnTo>
                <a:lnTo>
                  <a:pt x="363" y="182"/>
                </a:lnTo>
                <a:lnTo>
                  <a:pt x="386" y="227"/>
                </a:lnTo>
                <a:lnTo>
                  <a:pt x="340" y="250"/>
                </a:lnTo>
                <a:lnTo>
                  <a:pt x="340" y="340"/>
                </a:lnTo>
                <a:lnTo>
                  <a:pt x="295" y="363"/>
                </a:lnTo>
                <a:lnTo>
                  <a:pt x="204" y="363"/>
                </a:lnTo>
                <a:lnTo>
                  <a:pt x="136" y="409"/>
                </a:lnTo>
                <a:lnTo>
                  <a:pt x="91" y="409"/>
                </a:lnTo>
                <a:lnTo>
                  <a:pt x="68" y="363"/>
                </a:lnTo>
                <a:lnTo>
                  <a:pt x="0" y="340"/>
                </a:lnTo>
                <a:lnTo>
                  <a:pt x="0" y="318"/>
                </a:lnTo>
                <a:lnTo>
                  <a:pt x="68" y="227"/>
                </a:lnTo>
                <a:lnTo>
                  <a:pt x="23" y="182"/>
                </a:lnTo>
                <a:lnTo>
                  <a:pt x="23" y="159"/>
                </a:lnTo>
                <a:lnTo>
                  <a:pt x="68" y="136"/>
                </a:lnTo>
                <a:lnTo>
                  <a:pt x="68" y="91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292" name="Freeform 4"/>
          <p:cNvSpPr>
            <a:spLocks/>
          </p:cNvSpPr>
          <p:nvPr/>
        </p:nvSpPr>
        <p:spPr bwMode="auto">
          <a:xfrm>
            <a:off x="7176120" y="4655538"/>
            <a:ext cx="642837" cy="677862"/>
          </a:xfrm>
          <a:custGeom>
            <a:avLst/>
            <a:gdLst>
              <a:gd name="T0" fmla="*/ 219 w 476"/>
              <a:gd name="T1" fmla="*/ 0 h 613"/>
              <a:gd name="T2" fmla="*/ 219 w 476"/>
              <a:gd name="T3" fmla="*/ 32 h 613"/>
              <a:gd name="T4" fmla="*/ 266 w 476"/>
              <a:gd name="T5" fmla="*/ 63 h 613"/>
              <a:gd name="T6" fmla="*/ 266 w 476"/>
              <a:gd name="T7" fmla="*/ 32 h 613"/>
              <a:gd name="T8" fmla="*/ 282 w 476"/>
              <a:gd name="T9" fmla="*/ 16 h 613"/>
              <a:gd name="T10" fmla="*/ 298 w 476"/>
              <a:gd name="T11" fmla="*/ 47 h 613"/>
              <a:gd name="T12" fmla="*/ 313 w 476"/>
              <a:gd name="T13" fmla="*/ 63 h 613"/>
              <a:gd name="T14" fmla="*/ 329 w 476"/>
              <a:gd name="T15" fmla="*/ 63 h 613"/>
              <a:gd name="T16" fmla="*/ 266 w 476"/>
              <a:gd name="T17" fmla="*/ 158 h 613"/>
              <a:gd name="T18" fmla="*/ 251 w 476"/>
              <a:gd name="T19" fmla="*/ 205 h 613"/>
              <a:gd name="T20" fmla="*/ 235 w 476"/>
              <a:gd name="T21" fmla="*/ 222 h 613"/>
              <a:gd name="T22" fmla="*/ 219 w 476"/>
              <a:gd name="T23" fmla="*/ 269 h 613"/>
              <a:gd name="T24" fmla="*/ 235 w 476"/>
              <a:gd name="T25" fmla="*/ 348 h 613"/>
              <a:gd name="T26" fmla="*/ 266 w 476"/>
              <a:gd name="T27" fmla="*/ 427 h 613"/>
              <a:gd name="T28" fmla="*/ 235 w 476"/>
              <a:gd name="T29" fmla="*/ 395 h 613"/>
              <a:gd name="T30" fmla="*/ 204 w 476"/>
              <a:gd name="T31" fmla="*/ 332 h 613"/>
              <a:gd name="T32" fmla="*/ 125 w 476"/>
              <a:gd name="T33" fmla="*/ 332 h 613"/>
              <a:gd name="T34" fmla="*/ 94 w 476"/>
              <a:gd name="T35" fmla="*/ 332 h 613"/>
              <a:gd name="T36" fmla="*/ 63 w 476"/>
              <a:gd name="T37" fmla="*/ 300 h 613"/>
              <a:gd name="T38" fmla="*/ 0 w 476"/>
              <a:gd name="T39" fmla="*/ 222 h 613"/>
              <a:gd name="T40" fmla="*/ 0 w 476"/>
              <a:gd name="T41" fmla="*/ 190 h 613"/>
              <a:gd name="T42" fmla="*/ 31 w 476"/>
              <a:gd name="T43" fmla="*/ 190 h 613"/>
              <a:gd name="T44" fmla="*/ 78 w 476"/>
              <a:gd name="T45" fmla="*/ 158 h 613"/>
              <a:gd name="T46" fmla="*/ 141 w 476"/>
              <a:gd name="T47" fmla="*/ 158 h 613"/>
              <a:gd name="T48" fmla="*/ 172 w 476"/>
              <a:gd name="T49" fmla="*/ 142 h 613"/>
              <a:gd name="T50" fmla="*/ 172 w 476"/>
              <a:gd name="T51" fmla="*/ 79 h 613"/>
              <a:gd name="T52" fmla="*/ 204 w 476"/>
              <a:gd name="T53" fmla="*/ 63 h 613"/>
              <a:gd name="T54" fmla="*/ 188 w 476"/>
              <a:gd name="T55" fmla="*/ 32 h 613"/>
              <a:gd name="T56" fmla="*/ 219 w 476"/>
              <a:gd name="T57" fmla="*/ 0 h 61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476" h="613">
                <a:moveTo>
                  <a:pt x="317" y="0"/>
                </a:moveTo>
                <a:lnTo>
                  <a:pt x="317" y="46"/>
                </a:lnTo>
                <a:lnTo>
                  <a:pt x="385" y="91"/>
                </a:lnTo>
                <a:lnTo>
                  <a:pt x="385" y="46"/>
                </a:lnTo>
                <a:lnTo>
                  <a:pt x="408" y="23"/>
                </a:lnTo>
                <a:lnTo>
                  <a:pt x="431" y="68"/>
                </a:lnTo>
                <a:lnTo>
                  <a:pt x="453" y="91"/>
                </a:lnTo>
                <a:lnTo>
                  <a:pt x="476" y="91"/>
                </a:lnTo>
                <a:lnTo>
                  <a:pt x="385" y="227"/>
                </a:lnTo>
                <a:lnTo>
                  <a:pt x="363" y="295"/>
                </a:lnTo>
                <a:lnTo>
                  <a:pt x="340" y="318"/>
                </a:lnTo>
                <a:lnTo>
                  <a:pt x="317" y="386"/>
                </a:lnTo>
                <a:lnTo>
                  <a:pt x="340" y="499"/>
                </a:lnTo>
                <a:lnTo>
                  <a:pt x="385" y="613"/>
                </a:lnTo>
                <a:lnTo>
                  <a:pt x="340" y="567"/>
                </a:lnTo>
                <a:lnTo>
                  <a:pt x="295" y="477"/>
                </a:lnTo>
                <a:lnTo>
                  <a:pt x="181" y="477"/>
                </a:lnTo>
                <a:lnTo>
                  <a:pt x="136" y="477"/>
                </a:lnTo>
                <a:lnTo>
                  <a:pt x="91" y="431"/>
                </a:lnTo>
                <a:lnTo>
                  <a:pt x="0" y="318"/>
                </a:lnTo>
                <a:lnTo>
                  <a:pt x="0" y="273"/>
                </a:lnTo>
                <a:lnTo>
                  <a:pt x="45" y="273"/>
                </a:lnTo>
                <a:lnTo>
                  <a:pt x="113" y="227"/>
                </a:lnTo>
                <a:lnTo>
                  <a:pt x="204" y="227"/>
                </a:lnTo>
                <a:lnTo>
                  <a:pt x="249" y="204"/>
                </a:lnTo>
                <a:lnTo>
                  <a:pt x="249" y="114"/>
                </a:lnTo>
                <a:lnTo>
                  <a:pt x="295" y="91"/>
                </a:lnTo>
                <a:lnTo>
                  <a:pt x="272" y="46"/>
                </a:lnTo>
                <a:lnTo>
                  <a:pt x="317" y="0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293" name="Freeform 5"/>
          <p:cNvSpPr>
            <a:spLocks/>
          </p:cNvSpPr>
          <p:nvPr/>
        </p:nvSpPr>
        <p:spPr bwMode="auto">
          <a:xfrm>
            <a:off x="7781941" y="2830568"/>
            <a:ext cx="709269" cy="928687"/>
          </a:xfrm>
          <a:custGeom>
            <a:avLst/>
            <a:gdLst>
              <a:gd name="T0" fmla="*/ 111 w 521"/>
              <a:gd name="T1" fmla="*/ 0 h 839"/>
              <a:gd name="T2" fmla="*/ 142 w 521"/>
              <a:gd name="T3" fmla="*/ 47 h 839"/>
              <a:gd name="T4" fmla="*/ 95 w 521"/>
              <a:gd name="T5" fmla="*/ 126 h 839"/>
              <a:gd name="T6" fmla="*/ 47 w 521"/>
              <a:gd name="T7" fmla="*/ 158 h 839"/>
              <a:gd name="T8" fmla="*/ 15 w 521"/>
              <a:gd name="T9" fmla="*/ 158 h 839"/>
              <a:gd name="T10" fmla="*/ 15 w 521"/>
              <a:gd name="T11" fmla="*/ 190 h 839"/>
              <a:gd name="T12" fmla="*/ 31 w 521"/>
              <a:gd name="T13" fmla="*/ 190 h 839"/>
              <a:gd name="T14" fmla="*/ 47 w 521"/>
              <a:gd name="T15" fmla="*/ 174 h 839"/>
              <a:gd name="T16" fmla="*/ 95 w 521"/>
              <a:gd name="T17" fmla="*/ 206 h 839"/>
              <a:gd name="T18" fmla="*/ 79 w 521"/>
              <a:gd name="T19" fmla="*/ 301 h 839"/>
              <a:gd name="T20" fmla="*/ 31 w 521"/>
              <a:gd name="T21" fmla="*/ 395 h 839"/>
              <a:gd name="T22" fmla="*/ 15 w 521"/>
              <a:gd name="T23" fmla="*/ 411 h 839"/>
              <a:gd name="T24" fmla="*/ 0 w 521"/>
              <a:gd name="T25" fmla="*/ 443 h 839"/>
              <a:gd name="T26" fmla="*/ 31 w 521"/>
              <a:gd name="T27" fmla="*/ 443 h 839"/>
              <a:gd name="T28" fmla="*/ 111 w 521"/>
              <a:gd name="T29" fmla="*/ 506 h 839"/>
              <a:gd name="T30" fmla="*/ 111 w 521"/>
              <a:gd name="T31" fmla="*/ 538 h 839"/>
              <a:gd name="T32" fmla="*/ 142 w 521"/>
              <a:gd name="T33" fmla="*/ 585 h 839"/>
              <a:gd name="T34" fmla="*/ 206 w 521"/>
              <a:gd name="T35" fmla="*/ 554 h 839"/>
              <a:gd name="T36" fmla="*/ 221 w 521"/>
              <a:gd name="T37" fmla="*/ 458 h 839"/>
              <a:gd name="T38" fmla="*/ 206 w 521"/>
              <a:gd name="T39" fmla="*/ 395 h 839"/>
              <a:gd name="T40" fmla="*/ 284 w 521"/>
              <a:gd name="T41" fmla="*/ 301 h 839"/>
              <a:gd name="T42" fmla="*/ 300 w 521"/>
              <a:gd name="T43" fmla="*/ 237 h 839"/>
              <a:gd name="T44" fmla="*/ 316 w 521"/>
              <a:gd name="T45" fmla="*/ 221 h 839"/>
              <a:gd name="T46" fmla="*/ 316 w 521"/>
              <a:gd name="T47" fmla="*/ 174 h 839"/>
              <a:gd name="T48" fmla="*/ 348 w 521"/>
              <a:gd name="T49" fmla="*/ 142 h 839"/>
              <a:gd name="T50" fmla="*/ 363 w 521"/>
              <a:gd name="T51" fmla="*/ 142 h 839"/>
              <a:gd name="T52" fmla="*/ 348 w 521"/>
              <a:gd name="T53" fmla="*/ 126 h 839"/>
              <a:gd name="T54" fmla="*/ 363 w 521"/>
              <a:gd name="T55" fmla="*/ 95 h 839"/>
              <a:gd name="T56" fmla="*/ 348 w 521"/>
              <a:gd name="T57" fmla="*/ 47 h 839"/>
              <a:gd name="T58" fmla="*/ 284 w 521"/>
              <a:gd name="T59" fmla="*/ 63 h 839"/>
              <a:gd name="T60" fmla="*/ 253 w 521"/>
              <a:gd name="T61" fmla="*/ 31 h 839"/>
              <a:gd name="T62" fmla="*/ 190 w 521"/>
              <a:gd name="T63" fmla="*/ 47 h 839"/>
              <a:gd name="T64" fmla="*/ 111 w 521"/>
              <a:gd name="T65" fmla="*/ 0 h 83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521" h="839">
                <a:moveTo>
                  <a:pt x="159" y="0"/>
                </a:moveTo>
                <a:lnTo>
                  <a:pt x="204" y="68"/>
                </a:lnTo>
                <a:lnTo>
                  <a:pt x="136" y="181"/>
                </a:lnTo>
                <a:lnTo>
                  <a:pt x="68" y="227"/>
                </a:lnTo>
                <a:lnTo>
                  <a:pt x="22" y="227"/>
                </a:lnTo>
                <a:lnTo>
                  <a:pt x="22" y="272"/>
                </a:lnTo>
                <a:lnTo>
                  <a:pt x="45" y="272"/>
                </a:lnTo>
                <a:lnTo>
                  <a:pt x="68" y="249"/>
                </a:lnTo>
                <a:lnTo>
                  <a:pt x="136" y="295"/>
                </a:lnTo>
                <a:lnTo>
                  <a:pt x="113" y="431"/>
                </a:lnTo>
                <a:lnTo>
                  <a:pt x="45" y="567"/>
                </a:lnTo>
                <a:lnTo>
                  <a:pt x="22" y="589"/>
                </a:lnTo>
                <a:lnTo>
                  <a:pt x="0" y="635"/>
                </a:lnTo>
                <a:lnTo>
                  <a:pt x="45" y="635"/>
                </a:lnTo>
                <a:lnTo>
                  <a:pt x="159" y="725"/>
                </a:lnTo>
                <a:lnTo>
                  <a:pt x="159" y="771"/>
                </a:lnTo>
                <a:lnTo>
                  <a:pt x="204" y="839"/>
                </a:lnTo>
                <a:lnTo>
                  <a:pt x="295" y="794"/>
                </a:lnTo>
                <a:lnTo>
                  <a:pt x="317" y="657"/>
                </a:lnTo>
                <a:lnTo>
                  <a:pt x="295" y="567"/>
                </a:lnTo>
                <a:lnTo>
                  <a:pt x="408" y="431"/>
                </a:lnTo>
                <a:lnTo>
                  <a:pt x="431" y="340"/>
                </a:lnTo>
                <a:lnTo>
                  <a:pt x="453" y="317"/>
                </a:lnTo>
                <a:lnTo>
                  <a:pt x="453" y="249"/>
                </a:lnTo>
                <a:lnTo>
                  <a:pt x="499" y="204"/>
                </a:lnTo>
                <a:lnTo>
                  <a:pt x="521" y="204"/>
                </a:lnTo>
                <a:lnTo>
                  <a:pt x="499" y="181"/>
                </a:lnTo>
                <a:lnTo>
                  <a:pt x="521" y="136"/>
                </a:lnTo>
                <a:lnTo>
                  <a:pt x="499" y="68"/>
                </a:lnTo>
                <a:lnTo>
                  <a:pt x="408" y="90"/>
                </a:lnTo>
                <a:lnTo>
                  <a:pt x="363" y="45"/>
                </a:lnTo>
                <a:lnTo>
                  <a:pt x="272" y="68"/>
                </a:lnTo>
                <a:lnTo>
                  <a:pt x="159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294" name="Freeform 6"/>
          <p:cNvSpPr>
            <a:spLocks/>
          </p:cNvSpPr>
          <p:nvPr/>
        </p:nvSpPr>
        <p:spPr bwMode="auto">
          <a:xfrm>
            <a:off x="6762034" y="3808413"/>
            <a:ext cx="211023" cy="227012"/>
          </a:xfrm>
          <a:custGeom>
            <a:avLst/>
            <a:gdLst>
              <a:gd name="T0" fmla="*/ 108 w 159"/>
              <a:gd name="T1" fmla="*/ 0 h 204"/>
              <a:gd name="T2" fmla="*/ 46 w 159"/>
              <a:gd name="T3" fmla="*/ 16 h 204"/>
              <a:gd name="T4" fmla="*/ 0 w 159"/>
              <a:gd name="T5" fmla="*/ 64 h 204"/>
              <a:gd name="T6" fmla="*/ 0 w 159"/>
              <a:gd name="T7" fmla="*/ 95 h 204"/>
              <a:gd name="T8" fmla="*/ 31 w 159"/>
              <a:gd name="T9" fmla="*/ 80 h 204"/>
              <a:gd name="T10" fmla="*/ 31 w 159"/>
              <a:gd name="T11" fmla="*/ 95 h 204"/>
              <a:gd name="T12" fmla="*/ 16 w 159"/>
              <a:gd name="T13" fmla="*/ 111 h 204"/>
              <a:gd name="T14" fmla="*/ 0 w 159"/>
              <a:gd name="T15" fmla="*/ 143 h 204"/>
              <a:gd name="T16" fmla="*/ 62 w 159"/>
              <a:gd name="T17" fmla="*/ 128 h 204"/>
              <a:gd name="T18" fmla="*/ 92 w 159"/>
              <a:gd name="T19" fmla="*/ 95 h 204"/>
              <a:gd name="T20" fmla="*/ 92 w 159"/>
              <a:gd name="T21" fmla="*/ 80 h 204"/>
              <a:gd name="T22" fmla="*/ 62 w 159"/>
              <a:gd name="T23" fmla="*/ 80 h 204"/>
              <a:gd name="T24" fmla="*/ 62 w 159"/>
              <a:gd name="T25" fmla="*/ 64 h 204"/>
              <a:gd name="T26" fmla="*/ 92 w 159"/>
              <a:gd name="T27" fmla="*/ 32 h 204"/>
              <a:gd name="T28" fmla="*/ 108 w 159"/>
              <a:gd name="T29" fmla="*/ 0 h 20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9" h="204">
                <a:moveTo>
                  <a:pt x="159" y="0"/>
                </a:moveTo>
                <a:lnTo>
                  <a:pt x="68" y="23"/>
                </a:lnTo>
                <a:lnTo>
                  <a:pt x="0" y="91"/>
                </a:lnTo>
                <a:lnTo>
                  <a:pt x="0" y="136"/>
                </a:lnTo>
                <a:lnTo>
                  <a:pt x="46" y="114"/>
                </a:lnTo>
                <a:lnTo>
                  <a:pt x="46" y="136"/>
                </a:lnTo>
                <a:lnTo>
                  <a:pt x="23" y="159"/>
                </a:lnTo>
                <a:lnTo>
                  <a:pt x="0" y="204"/>
                </a:lnTo>
                <a:lnTo>
                  <a:pt x="91" y="182"/>
                </a:lnTo>
                <a:lnTo>
                  <a:pt x="136" y="136"/>
                </a:lnTo>
                <a:lnTo>
                  <a:pt x="136" y="114"/>
                </a:lnTo>
                <a:lnTo>
                  <a:pt x="91" y="114"/>
                </a:lnTo>
                <a:lnTo>
                  <a:pt x="91" y="91"/>
                </a:lnTo>
                <a:lnTo>
                  <a:pt x="136" y="46"/>
                </a:lnTo>
                <a:lnTo>
                  <a:pt x="159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295" name="Freeform 7"/>
          <p:cNvSpPr>
            <a:spLocks/>
          </p:cNvSpPr>
          <p:nvPr/>
        </p:nvSpPr>
        <p:spPr bwMode="auto">
          <a:xfrm>
            <a:off x="5835845" y="4311705"/>
            <a:ext cx="529509" cy="350837"/>
          </a:xfrm>
          <a:custGeom>
            <a:avLst/>
            <a:gdLst>
              <a:gd name="T0" fmla="*/ 112 w 385"/>
              <a:gd name="T1" fmla="*/ 0 h 317"/>
              <a:gd name="T2" fmla="*/ 80 w 385"/>
              <a:gd name="T3" fmla="*/ 31 h 317"/>
              <a:gd name="T4" fmla="*/ 96 w 385"/>
              <a:gd name="T5" fmla="*/ 79 h 317"/>
              <a:gd name="T6" fmla="*/ 175 w 385"/>
              <a:gd name="T7" fmla="*/ 95 h 317"/>
              <a:gd name="T8" fmla="*/ 191 w 385"/>
              <a:gd name="T9" fmla="*/ 47 h 317"/>
              <a:gd name="T10" fmla="*/ 271 w 385"/>
              <a:gd name="T11" fmla="*/ 47 h 317"/>
              <a:gd name="T12" fmla="*/ 271 w 385"/>
              <a:gd name="T13" fmla="*/ 126 h 317"/>
              <a:gd name="T14" fmla="*/ 256 w 385"/>
              <a:gd name="T15" fmla="*/ 174 h 317"/>
              <a:gd name="T16" fmla="*/ 191 w 385"/>
              <a:gd name="T17" fmla="*/ 221 h 317"/>
              <a:gd name="T18" fmla="*/ 144 w 385"/>
              <a:gd name="T19" fmla="*/ 190 h 317"/>
              <a:gd name="T20" fmla="*/ 96 w 385"/>
              <a:gd name="T21" fmla="*/ 190 h 317"/>
              <a:gd name="T22" fmla="*/ 48 w 385"/>
              <a:gd name="T23" fmla="*/ 206 h 317"/>
              <a:gd name="T24" fmla="*/ 0 w 385"/>
              <a:gd name="T25" fmla="*/ 174 h 317"/>
              <a:gd name="T26" fmla="*/ 16 w 385"/>
              <a:gd name="T27" fmla="*/ 95 h 317"/>
              <a:gd name="T28" fmla="*/ 48 w 385"/>
              <a:gd name="T29" fmla="*/ 31 h 317"/>
              <a:gd name="T30" fmla="*/ 80 w 385"/>
              <a:gd name="T31" fmla="*/ 0 h 317"/>
              <a:gd name="T32" fmla="*/ 112 w 385"/>
              <a:gd name="T33" fmla="*/ 0 h 3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385" h="317">
                <a:moveTo>
                  <a:pt x="159" y="0"/>
                </a:moveTo>
                <a:lnTo>
                  <a:pt x="113" y="45"/>
                </a:lnTo>
                <a:lnTo>
                  <a:pt x="136" y="113"/>
                </a:lnTo>
                <a:lnTo>
                  <a:pt x="249" y="136"/>
                </a:lnTo>
                <a:lnTo>
                  <a:pt x="272" y="68"/>
                </a:lnTo>
                <a:lnTo>
                  <a:pt x="385" y="68"/>
                </a:lnTo>
                <a:lnTo>
                  <a:pt x="385" y="181"/>
                </a:lnTo>
                <a:lnTo>
                  <a:pt x="363" y="249"/>
                </a:lnTo>
                <a:lnTo>
                  <a:pt x="272" y="317"/>
                </a:lnTo>
                <a:lnTo>
                  <a:pt x="204" y="272"/>
                </a:lnTo>
                <a:lnTo>
                  <a:pt x="136" y="272"/>
                </a:lnTo>
                <a:lnTo>
                  <a:pt x="68" y="295"/>
                </a:lnTo>
                <a:lnTo>
                  <a:pt x="0" y="249"/>
                </a:lnTo>
                <a:lnTo>
                  <a:pt x="23" y="136"/>
                </a:lnTo>
                <a:lnTo>
                  <a:pt x="68" y="45"/>
                </a:lnTo>
                <a:lnTo>
                  <a:pt x="113" y="0"/>
                </a:lnTo>
                <a:lnTo>
                  <a:pt x="159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296" name="Freeform 8"/>
          <p:cNvSpPr>
            <a:spLocks/>
          </p:cNvSpPr>
          <p:nvPr/>
        </p:nvSpPr>
        <p:spPr bwMode="auto">
          <a:xfrm>
            <a:off x="1822546" y="5967413"/>
            <a:ext cx="554911" cy="576262"/>
          </a:xfrm>
          <a:custGeom>
            <a:avLst/>
            <a:gdLst>
              <a:gd name="T0" fmla="*/ 0 w 408"/>
              <a:gd name="T1" fmla="*/ 206 h 521"/>
              <a:gd name="T2" fmla="*/ 15 w 408"/>
              <a:gd name="T3" fmla="*/ 253 h 521"/>
              <a:gd name="T4" fmla="*/ 63 w 408"/>
              <a:gd name="T5" fmla="*/ 284 h 521"/>
              <a:gd name="T6" fmla="*/ 79 w 408"/>
              <a:gd name="T7" fmla="*/ 300 h 521"/>
              <a:gd name="T8" fmla="*/ 95 w 408"/>
              <a:gd name="T9" fmla="*/ 300 h 521"/>
              <a:gd name="T10" fmla="*/ 110 w 408"/>
              <a:gd name="T11" fmla="*/ 284 h 521"/>
              <a:gd name="T12" fmla="*/ 95 w 408"/>
              <a:gd name="T13" fmla="*/ 268 h 521"/>
              <a:gd name="T14" fmla="*/ 95 w 408"/>
              <a:gd name="T15" fmla="*/ 237 h 521"/>
              <a:gd name="T16" fmla="*/ 79 w 408"/>
              <a:gd name="T17" fmla="*/ 221 h 521"/>
              <a:gd name="T18" fmla="*/ 126 w 408"/>
              <a:gd name="T19" fmla="*/ 157 h 521"/>
              <a:gd name="T20" fmla="*/ 142 w 408"/>
              <a:gd name="T21" fmla="*/ 142 h 521"/>
              <a:gd name="T22" fmla="*/ 173 w 408"/>
              <a:gd name="T23" fmla="*/ 157 h 521"/>
              <a:gd name="T24" fmla="*/ 189 w 408"/>
              <a:gd name="T25" fmla="*/ 173 h 521"/>
              <a:gd name="T26" fmla="*/ 157 w 408"/>
              <a:gd name="T27" fmla="*/ 206 h 521"/>
              <a:gd name="T28" fmla="*/ 142 w 408"/>
              <a:gd name="T29" fmla="*/ 206 h 521"/>
              <a:gd name="T30" fmla="*/ 142 w 408"/>
              <a:gd name="T31" fmla="*/ 237 h 521"/>
              <a:gd name="T32" fmla="*/ 157 w 408"/>
              <a:gd name="T33" fmla="*/ 284 h 521"/>
              <a:gd name="T34" fmla="*/ 126 w 408"/>
              <a:gd name="T35" fmla="*/ 316 h 521"/>
              <a:gd name="T36" fmla="*/ 95 w 408"/>
              <a:gd name="T37" fmla="*/ 363 h 521"/>
              <a:gd name="T38" fmla="*/ 142 w 408"/>
              <a:gd name="T39" fmla="*/ 348 h 521"/>
              <a:gd name="T40" fmla="*/ 173 w 408"/>
              <a:gd name="T41" fmla="*/ 348 h 521"/>
              <a:gd name="T42" fmla="*/ 205 w 408"/>
              <a:gd name="T43" fmla="*/ 316 h 521"/>
              <a:gd name="T44" fmla="*/ 221 w 408"/>
              <a:gd name="T45" fmla="*/ 316 h 521"/>
              <a:gd name="T46" fmla="*/ 221 w 408"/>
              <a:gd name="T47" fmla="*/ 300 h 521"/>
              <a:gd name="T48" fmla="*/ 205 w 408"/>
              <a:gd name="T49" fmla="*/ 268 h 521"/>
              <a:gd name="T50" fmla="*/ 237 w 408"/>
              <a:gd name="T51" fmla="*/ 237 h 521"/>
              <a:gd name="T52" fmla="*/ 252 w 408"/>
              <a:gd name="T53" fmla="*/ 253 h 521"/>
              <a:gd name="T54" fmla="*/ 284 w 408"/>
              <a:gd name="T55" fmla="*/ 221 h 521"/>
              <a:gd name="T56" fmla="*/ 268 w 408"/>
              <a:gd name="T57" fmla="*/ 206 h 521"/>
              <a:gd name="T58" fmla="*/ 237 w 408"/>
              <a:gd name="T59" fmla="*/ 190 h 521"/>
              <a:gd name="T60" fmla="*/ 237 w 408"/>
              <a:gd name="T61" fmla="*/ 142 h 521"/>
              <a:gd name="T62" fmla="*/ 221 w 408"/>
              <a:gd name="T63" fmla="*/ 126 h 521"/>
              <a:gd name="T64" fmla="*/ 205 w 408"/>
              <a:gd name="T65" fmla="*/ 79 h 521"/>
              <a:gd name="T66" fmla="*/ 173 w 408"/>
              <a:gd name="T67" fmla="*/ 15 h 521"/>
              <a:gd name="T68" fmla="*/ 110 w 408"/>
              <a:gd name="T69" fmla="*/ 0 h 521"/>
              <a:gd name="T70" fmla="*/ 47 w 408"/>
              <a:gd name="T71" fmla="*/ 0 h 521"/>
              <a:gd name="T72" fmla="*/ 63 w 408"/>
              <a:gd name="T73" fmla="*/ 31 h 521"/>
              <a:gd name="T74" fmla="*/ 63 w 408"/>
              <a:gd name="T75" fmla="*/ 47 h 521"/>
              <a:gd name="T76" fmla="*/ 63 w 408"/>
              <a:gd name="T77" fmla="*/ 79 h 521"/>
              <a:gd name="T78" fmla="*/ 31 w 408"/>
              <a:gd name="T79" fmla="*/ 110 h 521"/>
              <a:gd name="T80" fmla="*/ 63 w 408"/>
              <a:gd name="T81" fmla="*/ 157 h 521"/>
              <a:gd name="T82" fmla="*/ 47 w 408"/>
              <a:gd name="T83" fmla="*/ 206 h 521"/>
              <a:gd name="T84" fmla="*/ 31 w 408"/>
              <a:gd name="T85" fmla="*/ 221 h 521"/>
              <a:gd name="T86" fmla="*/ 0 w 408"/>
              <a:gd name="T87" fmla="*/ 206 h 52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08" h="521">
                <a:moveTo>
                  <a:pt x="0" y="295"/>
                </a:moveTo>
                <a:lnTo>
                  <a:pt x="22" y="363"/>
                </a:lnTo>
                <a:lnTo>
                  <a:pt x="90" y="408"/>
                </a:lnTo>
                <a:lnTo>
                  <a:pt x="113" y="431"/>
                </a:lnTo>
                <a:lnTo>
                  <a:pt x="136" y="431"/>
                </a:lnTo>
                <a:lnTo>
                  <a:pt x="158" y="408"/>
                </a:lnTo>
                <a:lnTo>
                  <a:pt x="136" y="385"/>
                </a:lnTo>
                <a:lnTo>
                  <a:pt x="136" y="340"/>
                </a:lnTo>
                <a:lnTo>
                  <a:pt x="113" y="317"/>
                </a:lnTo>
                <a:lnTo>
                  <a:pt x="181" y="226"/>
                </a:lnTo>
                <a:lnTo>
                  <a:pt x="204" y="204"/>
                </a:lnTo>
                <a:lnTo>
                  <a:pt x="249" y="226"/>
                </a:lnTo>
                <a:lnTo>
                  <a:pt x="272" y="249"/>
                </a:lnTo>
                <a:lnTo>
                  <a:pt x="226" y="295"/>
                </a:lnTo>
                <a:lnTo>
                  <a:pt x="204" y="295"/>
                </a:lnTo>
                <a:lnTo>
                  <a:pt x="204" y="340"/>
                </a:lnTo>
                <a:lnTo>
                  <a:pt x="226" y="408"/>
                </a:lnTo>
                <a:lnTo>
                  <a:pt x="181" y="453"/>
                </a:lnTo>
                <a:lnTo>
                  <a:pt x="136" y="521"/>
                </a:lnTo>
                <a:lnTo>
                  <a:pt x="204" y="499"/>
                </a:lnTo>
                <a:lnTo>
                  <a:pt x="249" y="499"/>
                </a:lnTo>
                <a:lnTo>
                  <a:pt x="294" y="453"/>
                </a:lnTo>
                <a:lnTo>
                  <a:pt x="317" y="453"/>
                </a:lnTo>
                <a:lnTo>
                  <a:pt x="317" y="431"/>
                </a:lnTo>
                <a:lnTo>
                  <a:pt x="294" y="385"/>
                </a:lnTo>
                <a:lnTo>
                  <a:pt x="340" y="340"/>
                </a:lnTo>
                <a:lnTo>
                  <a:pt x="362" y="363"/>
                </a:lnTo>
                <a:lnTo>
                  <a:pt x="408" y="317"/>
                </a:lnTo>
                <a:lnTo>
                  <a:pt x="385" y="295"/>
                </a:lnTo>
                <a:lnTo>
                  <a:pt x="340" y="272"/>
                </a:lnTo>
                <a:lnTo>
                  <a:pt x="340" y="204"/>
                </a:lnTo>
                <a:lnTo>
                  <a:pt x="317" y="181"/>
                </a:lnTo>
                <a:lnTo>
                  <a:pt x="294" y="113"/>
                </a:lnTo>
                <a:lnTo>
                  <a:pt x="249" y="22"/>
                </a:lnTo>
                <a:lnTo>
                  <a:pt x="158" y="0"/>
                </a:lnTo>
                <a:lnTo>
                  <a:pt x="68" y="0"/>
                </a:lnTo>
                <a:lnTo>
                  <a:pt x="90" y="45"/>
                </a:lnTo>
                <a:lnTo>
                  <a:pt x="90" y="68"/>
                </a:lnTo>
                <a:lnTo>
                  <a:pt x="90" y="113"/>
                </a:lnTo>
                <a:lnTo>
                  <a:pt x="45" y="158"/>
                </a:lnTo>
                <a:lnTo>
                  <a:pt x="90" y="226"/>
                </a:lnTo>
                <a:lnTo>
                  <a:pt x="68" y="295"/>
                </a:lnTo>
                <a:lnTo>
                  <a:pt x="45" y="317"/>
                </a:lnTo>
                <a:lnTo>
                  <a:pt x="0" y="295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297" name="Freeform 9"/>
          <p:cNvSpPr>
            <a:spLocks/>
          </p:cNvSpPr>
          <p:nvPr/>
        </p:nvSpPr>
        <p:spPr bwMode="auto">
          <a:xfrm>
            <a:off x="2191835" y="5742043"/>
            <a:ext cx="679961" cy="701675"/>
          </a:xfrm>
          <a:custGeom>
            <a:avLst/>
            <a:gdLst>
              <a:gd name="T0" fmla="*/ 0 w 499"/>
              <a:gd name="T1" fmla="*/ 189 h 635"/>
              <a:gd name="T2" fmla="*/ 15 w 499"/>
              <a:gd name="T3" fmla="*/ 221 h 635"/>
              <a:gd name="T4" fmla="*/ 31 w 499"/>
              <a:gd name="T5" fmla="*/ 268 h 635"/>
              <a:gd name="T6" fmla="*/ 47 w 499"/>
              <a:gd name="T7" fmla="*/ 284 h 635"/>
              <a:gd name="T8" fmla="*/ 47 w 499"/>
              <a:gd name="T9" fmla="*/ 331 h 635"/>
              <a:gd name="T10" fmla="*/ 79 w 499"/>
              <a:gd name="T11" fmla="*/ 347 h 635"/>
              <a:gd name="T12" fmla="*/ 95 w 499"/>
              <a:gd name="T13" fmla="*/ 363 h 635"/>
              <a:gd name="T14" fmla="*/ 63 w 499"/>
              <a:gd name="T15" fmla="*/ 395 h 635"/>
              <a:gd name="T16" fmla="*/ 79 w 499"/>
              <a:gd name="T17" fmla="*/ 410 h 635"/>
              <a:gd name="T18" fmla="*/ 95 w 499"/>
              <a:gd name="T19" fmla="*/ 442 h 635"/>
              <a:gd name="T20" fmla="*/ 126 w 499"/>
              <a:gd name="T21" fmla="*/ 410 h 635"/>
              <a:gd name="T22" fmla="*/ 126 w 499"/>
              <a:gd name="T23" fmla="*/ 379 h 635"/>
              <a:gd name="T24" fmla="*/ 142 w 499"/>
              <a:gd name="T25" fmla="*/ 363 h 635"/>
              <a:gd name="T26" fmla="*/ 174 w 499"/>
              <a:gd name="T27" fmla="*/ 331 h 635"/>
              <a:gd name="T28" fmla="*/ 158 w 499"/>
              <a:gd name="T29" fmla="*/ 299 h 635"/>
              <a:gd name="T30" fmla="*/ 268 w 499"/>
              <a:gd name="T31" fmla="*/ 142 h 635"/>
              <a:gd name="T32" fmla="*/ 285 w 499"/>
              <a:gd name="T33" fmla="*/ 126 h 635"/>
              <a:gd name="T34" fmla="*/ 285 w 499"/>
              <a:gd name="T35" fmla="*/ 110 h 635"/>
              <a:gd name="T36" fmla="*/ 332 w 499"/>
              <a:gd name="T37" fmla="*/ 63 h 635"/>
              <a:gd name="T38" fmla="*/ 348 w 499"/>
              <a:gd name="T39" fmla="*/ 47 h 635"/>
              <a:gd name="T40" fmla="*/ 316 w 499"/>
              <a:gd name="T41" fmla="*/ 31 h 635"/>
              <a:gd name="T42" fmla="*/ 285 w 499"/>
              <a:gd name="T43" fmla="*/ 47 h 635"/>
              <a:gd name="T44" fmla="*/ 253 w 499"/>
              <a:gd name="T45" fmla="*/ 31 h 635"/>
              <a:gd name="T46" fmla="*/ 253 w 499"/>
              <a:gd name="T47" fmla="*/ 15 h 635"/>
              <a:gd name="T48" fmla="*/ 221 w 499"/>
              <a:gd name="T49" fmla="*/ 15 h 635"/>
              <a:gd name="T50" fmla="*/ 190 w 499"/>
              <a:gd name="T51" fmla="*/ 0 h 635"/>
              <a:gd name="T52" fmla="*/ 142 w 499"/>
              <a:gd name="T53" fmla="*/ 63 h 635"/>
              <a:gd name="T54" fmla="*/ 95 w 499"/>
              <a:gd name="T55" fmla="*/ 79 h 635"/>
              <a:gd name="T56" fmla="*/ 110 w 499"/>
              <a:gd name="T57" fmla="*/ 126 h 635"/>
              <a:gd name="T58" fmla="*/ 95 w 499"/>
              <a:gd name="T59" fmla="*/ 157 h 635"/>
              <a:gd name="T60" fmla="*/ 95 w 499"/>
              <a:gd name="T61" fmla="*/ 205 h 635"/>
              <a:gd name="T62" fmla="*/ 47 w 499"/>
              <a:gd name="T63" fmla="*/ 189 h 635"/>
              <a:gd name="T64" fmla="*/ 0 w 499"/>
              <a:gd name="T65" fmla="*/ 189 h 6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499" h="635">
                <a:moveTo>
                  <a:pt x="0" y="272"/>
                </a:moveTo>
                <a:lnTo>
                  <a:pt x="22" y="317"/>
                </a:lnTo>
                <a:lnTo>
                  <a:pt x="45" y="385"/>
                </a:lnTo>
                <a:lnTo>
                  <a:pt x="68" y="408"/>
                </a:lnTo>
                <a:lnTo>
                  <a:pt x="68" y="476"/>
                </a:lnTo>
                <a:lnTo>
                  <a:pt x="113" y="499"/>
                </a:lnTo>
                <a:lnTo>
                  <a:pt x="136" y="521"/>
                </a:lnTo>
                <a:lnTo>
                  <a:pt x="90" y="567"/>
                </a:lnTo>
                <a:lnTo>
                  <a:pt x="113" y="589"/>
                </a:lnTo>
                <a:lnTo>
                  <a:pt x="136" y="635"/>
                </a:lnTo>
                <a:lnTo>
                  <a:pt x="181" y="589"/>
                </a:lnTo>
                <a:lnTo>
                  <a:pt x="181" y="544"/>
                </a:lnTo>
                <a:lnTo>
                  <a:pt x="204" y="521"/>
                </a:lnTo>
                <a:lnTo>
                  <a:pt x="249" y="476"/>
                </a:lnTo>
                <a:lnTo>
                  <a:pt x="227" y="430"/>
                </a:lnTo>
                <a:lnTo>
                  <a:pt x="385" y="204"/>
                </a:lnTo>
                <a:lnTo>
                  <a:pt x="408" y="181"/>
                </a:lnTo>
                <a:lnTo>
                  <a:pt x="408" y="158"/>
                </a:lnTo>
                <a:lnTo>
                  <a:pt x="476" y="90"/>
                </a:lnTo>
                <a:lnTo>
                  <a:pt x="499" y="68"/>
                </a:lnTo>
                <a:lnTo>
                  <a:pt x="453" y="45"/>
                </a:lnTo>
                <a:lnTo>
                  <a:pt x="408" y="68"/>
                </a:lnTo>
                <a:lnTo>
                  <a:pt x="363" y="45"/>
                </a:lnTo>
                <a:lnTo>
                  <a:pt x="363" y="22"/>
                </a:lnTo>
                <a:lnTo>
                  <a:pt x="317" y="22"/>
                </a:lnTo>
                <a:lnTo>
                  <a:pt x="272" y="0"/>
                </a:lnTo>
                <a:lnTo>
                  <a:pt x="204" y="90"/>
                </a:lnTo>
                <a:lnTo>
                  <a:pt x="136" y="113"/>
                </a:lnTo>
                <a:lnTo>
                  <a:pt x="158" y="181"/>
                </a:lnTo>
                <a:lnTo>
                  <a:pt x="136" y="226"/>
                </a:lnTo>
                <a:lnTo>
                  <a:pt x="136" y="294"/>
                </a:lnTo>
                <a:lnTo>
                  <a:pt x="68" y="272"/>
                </a:lnTo>
                <a:lnTo>
                  <a:pt x="0" y="272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298" name="Freeform 10"/>
          <p:cNvSpPr>
            <a:spLocks/>
          </p:cNvSpPr>
          <p:nvPr/>
        </p:nvSpPr>
        <p:spPr bwMode="auto">
          <a:xfrm>
            <a:off x="2437994" y="5364218"/>
            <a:ext cx="525603" cy="452437"/>
          </a:xfrm>
          <a:custGeom>
            <a:avLst/>
            <a:gdLst>
              <a:gd name="T0" fmla="*/ 111 w 386"/>
              <a:gd name="T1" fmla="*/ 0 h 409"/>
              <a:gd name="T2" fmla="*/ 95 w 386"/>
              <a:gd name="T3" fmla="*/ 32 h 409"/>
              <a:gd name="T4" fmla="*/ 47 w 386"/>
              <a:gd name="T5" fmla="*/ 16 h 409"/>
              <a:gd name="T6" fmla="*/ 0 w 386"/>
              <a:gd name="T7" fmla="*/ 63 h 409"/>
              <a:gd name="T8" fmla="*/ 0 w 386"/>
              <a:gd name="T9" fmla="*/ 111 h 409"/>
              <a:gd name="T10" fmla="*/ 32 w 386"/>
              <a:gd name="T11" fmla="*/ 127 h 409"/>
              <a:gd name="T12" fmla="*/ 63 w 386"/>
              <a:gd name="T13" fmla="*/ 127 h 409"/>
              <a:gd name="T14" fmla="*/ 63 w 386"/>
              <a:gd name="T15" fmla="*/ 158 h 409"/>
              <a:gd name="T16" fmla="*/ 79 w 386"/>
              <a:gd name="T17" fmla="*/ 190 h 409"/>
              <a:gd name="T18" fmla="*/ 63 w 386"/>
              <a:gd name="T19" fmla="*/ 222 h 409"/>
              <a:gd name="T20" fmla="*/ 95 w 386"/>
              <a:gd name="T21" fmla="*/ 253 h 409"/>
              <a:gd name="T22" fmla="*/ 127 w 386"/>
              <a:gd name="T23" fmla="*/ 253 h 409"/>
              <a:gd name="T24" fmla="*/ 127 w 386"/>
              <a:gd name="T25" fmla="*/ 269 h 409"/>
              <a:gd name="T26" fmla="*/ 158 w 386"/>
              <a:gd name="T27" fmla="*/ 285 h 409"/>
              <a:gd name="T28" fmla="*/ 190 w 386"/>
              <a:gd name="T29" fmla="*/ 269 h 409"/>
              <a:gd name="T30" fmla="*/ 222 w 386"/>
              <a:gd name="T31" fmla="*/ 285 h 409"/>
              <a:gd name="T32" fmla="*/ 253 w 386"/>
              <a:gd name="T33" fmla="*/ 285 h 409"/>
              <a:gd name="T34" fmla="*/ 269 w 386"/>
              <a:gd name="T35" fmla="*/ 253 h 409"/>
              <a:gd name="T36" fmla="*/ 237 w 386"/>
              <a:gd name="T37" fmla="*/ 238 h 409"/>
              <a:gd name="T38" fmla="*/ 269 w 386"/>
              <a:gd name="T39" fmla="*/ 206 h 409"/>
              <a:gd name="T40" fmla="*/ 237 w 386"/>
              <a:gd name="T41" fmla="*/ 206 h 409"/>
              <a:gd name="T42" fmla="*/ 222 w 386"/>
              <a:gd name="T43" fmla="*/ 190 h 409"/>
              <a:gd name="T44" fmla="*/ 269 w 386"/>
              <a:gd name="T45" fmla="*/ 158 h 409"/>
              <a:gd name="T46" fmla="*/ 206 w 386"/>
              <a:gd name="T47" fmla="*/ 142 h 409"/>
              <a:gd name="T48" fmla="*/ 174 w 386"/>
              <a:gd name="T49" fmla="*/ 142 h 409"/>
              <a:gd name="T50" fmla="*/ 158 w 386"/>
              <a:gd name="T51" fmla="*/ 111 h 409"/>
              <a:gd name="T52" fmla="*/ 174 w 386"/>
              <a:gd name="T53" fmla="*/ 79 h 409"/>
              <a:gd name="T54" fmla="*/ 190 w 386"/>
              <a:gd name="T55" fmla="*/ 95 h 409"/>
              <a:gd name="T56" fmla="*/ 206 w 386"/>
              <a:gd name="T57" fmla="*/ 95 h 409"/>
              <a:gd name="T58" fmla="*/ 237 w 386"/>
              <a:gd name="T59" fmla="*/ 79 h 409"/>
              <a:gd name="T60" fmla="*/ 253 w 386"/>
              <a:gd name="T61" fmla="*/ 47 h 409"/>
              <a:gd name="T62" fmla="*/ 237 w 386"/>
              <a:gd name="T63" fmla="*/ 16 h 409"/>
              <a:gd name="T64" fmla="*/ 206 w 386"/>
              <a:gd name="T65" fmla="*/ 0 h 409"/>
              <a:gd name="T66" fmla="*/ 174 w 386"/>
              <a:gd name="T67" fmla="*/ 32 h 409"/>
              <a:gd name="T68" fmla="*/ 142 w 386"/>
              <a:gd name="T69" fmla="*/ 32 h 409"/>
              <a:gd name="T70" fmla="*/ 127 w 386"/>
              <a:gd name="T71" fmla="*/ 16 h 409"/>
              <a:gd name="T72" fmla="*/ 111 w 386"/>
              <a:gd name="T73" fmla="*/ 0 h 40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386" h="409">
                <a:moveTo>
                  <a:pt x="159" y="0"/>
                </a:moveTo>
                <a:lnTo>
                  <a:pt x="136" y="46"/>
                </a:lnTo>
                <a:lnTo>
                  <a:pt x="68" y="23"/>
                </a:lnTo>
                <a:lnTo>
                  <a:pt x="0" y="91"/>
                </a:lnTo>
                <a:lnTo>
                  <a:pt x="0" y="159"/>
                </a:lnTo>
                <a:lnTo>
                  <a:pt x="46" y="182"/>
                </a:lnTo>
                <a:lnTo>
                  <a:pt x="91" y="182"/>
                </a:lnTo>
                <a:lnTo>
                  <a:pt x="91" y="227"/>
                </a:lnTo>
                <a:lnTo>
                  <a:pt x="114" y="273"/>
                </a:lnTo>
                <a:lnTo>
                  <a:pt x="91" y="318"/>
                </a:lnTo>
                <a:lnTo>
                  <a:pt x="136" y="363"/>
                </a:lnTo>
                <a:lnTo>
                  <a:pt x="182" y="363"/>
                </a:lnTo>
                <a:lnTo>
                  <a:pt x="182" y="386"/>
                </a:lnTo>
                <a:lnTo>
                  <a:pt x="227" y="409"/>
                </a:lnTo>
                <a:lnTo>
                  <a:pt x="272" y="386"/>
                </a:lnTo>
                <a:lnTo>
                  <a:pt x="318" y="409"/>
                </a:lnTo>
                <a:lnTo>
                  <a:pt x="363" y="409"/>
                </a:lnTo>
                <a:lnTo>
                  <a:pt x="386" y="363"/>
                </a:lnTo>
                <a:lnTo>
                  <a:pt x="340" y="341"/>
                </a:lnTo>
                <a:lnTo>
                  <a:pt x="386" y="295"/>
                </a:lnTo>
                <a:lnTo>
                  <a:pt x="340" y="295"/>
                </a:lnTo>
                <a:lnTo>
                  <a:pt x="318" y="273"/>
                </a:lnTo>
                <a:lnTo>
                  <a:pt x="386" y="227"/>
                </a:lnTo>
                <a:lnTo>
                  <a:pt x="295" y="204"/>
                </a:lnTo>
                <a:lnTo>
                  <a:pt x="250" y="204"/>
                </a:lnTo>
                <a:lnTo>
                  <a:pt x="227" y="159"/>
                </a:lnTo>
                <a:lnTo>
                  <a:pt x="250" y="114"/>
                </a:lnTo>
                <a:lnTo>
                  <a:pt x="272" y="136"/>
                </a:lnTo>
                <a:lnTo>
                  <a:pt x="295" y="136"/>
                </a:lnTo>
                <a:lnTo>
                  <a:pt x="340" y="114"/>
                </a:lnTo>
                <a:lnTo>
                  <a:pt x="363" y="68"/>
                </a:lnTo>
                <a:lnTo>
                  <a:pt x="340" y="23"/>
                </a:lnTo>
                <a:lnTo>
                  <a:pt x="295" y="0"/>
                </a:lnTo>
                <a:lnTo>
                  <a:pt x="250" y="46"/>
                </a:lnTo>
                <a:lnTo>
                  <a:pt x="204" y="46"/>
                </a:lnTo>
                <a:lnTo>
                  <a:pt x="182" y="23"/>
                </a:lnTo>
                <a:lnTo>
                  <a:pt x="159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299" name="Freeform 11"/>
          <p:cNvSpPr>
            <a:spLocks/>
          </p:cNvSpPr>
          <p:nvPr/>
        </p:nvSpPr>
        <p:spPr bwMode="auto">
          <a:xfrm>
            <a:off x="2037440" y="5514975"/>
            <a:ext cx="586173" cy="552450"/>
          </a:xfrm>
          <a:custGeom>
            <a:avLst/>
            <a:gdLst>
              <a:gd name="T0" fmla="*/ 79 w 431"/>
              <a:gd name="T1" fmla="*/ 32 h 499"/>
              <a:gd name="T2" fmla="*/ 158 w 431"/>
              <a:gd name="T3" fmla="*/ 0 h 499"/>
              <a:gd name="T4" fmla="*/ 221 w 431"/>
              <a:gd name="T5" fmla="*/ 80 h 499"/>
              <a:gd name="T6" fmla="*/ 237 w 431"/>
              <a:gd name="T7" fmla="*/ 47 h 499"/>
              <a:gd name="T8" fmla="*/ 237 w 431"/>
              <a:gd name="T9" fmla="*/ 32 h 499"/>
              <a:gd name="T10" fmla="*/ 269 w 431"/>
              <a:gd name="T11" fmla="*/ 32 h 499"/>
              <a:gd name="T12" fmla="*/ 269 w 431"/>
              <a:gd name="T13" fmla="*/ 47 h 499"/>
              <a:gd name="T14" fmla="*/ 269 w 431"/>
              <a:gd name="T15" fmla="*/ 63 h 499"/>
              <a:gd name="T16" fmla="*/ 285 w 431"/>
              <a:gd name="T17" fmla="*/ 96 h 499"/>
              <a:gd name="T18" fmla="*/ 269 w 431"/>
              <a:gd name="T19" fmla="*/ 127 h 499"/>
              <a:gd name="T20" fmla="*/ 300 w 431"/>
              <a:gd name="T21" fmla="*/ 158 h 499"/>
              <a:gd name="T22" fmla="*/ 269 w 431"/>
              <a:gd name="T23" fmla="*/ 143 h 499"/>
              <a:gd name="T24" fmla="*/ 221 w 431"/>
              <a:gd name="T25" fmla="*/ 206 h 499"/>
              <a:gd name="T26" fmla="*/ 174 w 431"/>
              <a:gd name="T27" fmla="*/ 222 h 499"/>
              <a:gd name="T28" fmla="*/ 189 w 431"/>
              <a:gd name="T29" fmla="*/ 269 h 499"/>
              <a:gd name="T30" fmla="*/ 174 w 431"/>
              <a:gd name="T31" fmla="*/ 301 h 499"/>
              <a:gd name="T32" fmla="*/ 174 w 431"/>
              <a:gd name="T33" fmla="*/ 348 h 499"/>
              <a:gd name="T34" fmla="*/ 127 w 431"/>
              <a:gd name="T35" fmla="*/ 333 h 499"/>
              <a:gd name="T36" fmla="*/ 79 w 431"/>
              <a:gd name="T37" fmla="*/ 333 h 499"/>
              <a:gd name="T38" fmla="*/ 63 w 431"/>
              <a:gd name="T39" fmla="*/ 301 h 499"/>
              <a:gd name="T40" fmla="*/ 0 w 431"/>
              <a:gd name="T41" fmla="*/ 285 h 499"/>
              <a:gd name="T42" fmla="*/ 47 w 431"/>
              <a:gd name="T43" fmla="*/ 238 h 499"/>
              <a:gd name="T44" fmla="*/ 79 w 431"/>
              <a:gd name="T45" fmla="*/ 222 h 499"/>
              <a:gd name="T46" fmla="*/ 79 w 431"/>
              <a:gd name="T47" fmla="*/ 190 h 499"/>
              <a:gd name="T48" fmla="*/ 127 w 431"/>
              <a:gd name="T49" fmla="*/ 174 h 499"/>
              <a:gd name="T50" fmla="*/ 111 w 431"/>
              <a:gd name="T51" fmla="*/ 158 h 499"/>
              <a:gd name="T52" fmla="*/ 63 w 431"/>
              <a:gd name="T53" fmla="*/ 158 h 499"/>
              <a:gd name="T54" fmla="*/ 111 w 431"/>
              <a:gd name="T55" fmla="*/ 143 h 499"/>
              <a:gd name="T56" fmla="*/ 111 w 431"/>
              <a:gd name="T57" fmla="*/ 96 h 499"/>
              <a:gd name="T58" fmla="*/ 95 w 431"/>
              <a:gd name="T59" fmla="*/ 96 h 499"/>
              <a:gd name="T60" fmla="*/ 95 w 431"/>
              <a:gd name="T61" fmla="*/ 80 h 499"/>
              <a:gd name="T62" fmla="*/ 79 w 431"/>
              <a:gd name="T63" fmla="*/ 63 h 499"/>
              <a:gd name="T64" fmla="*/ 95 w 431"/>
              <a:gd name="T65" fmla="*/ 32 h 499"/>
              <a:gd name="T66" fmla="*/ 79 w 431"/>
              <a:gd name="T67" fmla="*/ 32 h 49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431" h="499">
                <a:moveTo>
                  <a:pt x="114" y="46"/>
                </a:moveTo>
                <a:lnTo>
                  <a:pt x="227" y="0"/>
                </a:lnTo>
                <a:lnTo>
                  <a:pt x="318" y="114"/>
                </a:lnTo>
                <a:lnTo>
                  <a:pt x="341" y="68"/>
                </a:lnTo>
                <a:lnTo>
                  <a:pt x="341" y="46"/>
                </a:lnTo>
                <a:lnTo>
                  <a:pt x="386" y="46"/>
                </a:lnTo>
                <a:lnTo>
                  <a:pt x="386" y="68"/>
                </a:lnTo>
                <a:lnTo>
                  <a:pt x="386" y="91"/>
                </a:lnTo>
                <a:lnTo>
                  <a:pt x="409" y="137"/>
                </a:lnTo>
                <a:lnTo>
                  <a:pt x="386" y="182"/>
                </a:lnTo>
                <a:lnTo>
                  <a:pt x="431" y="227"/>
                </a:lnTo>
                <a:lnTo>
                  <a:pt x="386" y="205"/>
                </a:lnTo>
                <a:lnTo>
                  <a:pt x="318" y="295"/>
                </a:lnTo>
                <a:lnTo>
                  <a:pt x="250" y="318"/>
                </a:lnTo>
                <a:lnTo>
                  <a:pt x="272" y="386"/>
                </a:lnTo>
                <a:lnTo>
                  <a:pt x="250" y="431"/>
                </a:lnTo>
                <a:lnTo>
                  <a:pt x="250" y="499"/>
                </a:lnTo>
                <a:lnTo>
                  <a:pt x="182" y="477"/>
                </a:lnTo>
                <a:lnTo>
                  <a:pt x="114" y="477"/>
                </a:lnTo>
                <a:lnTo>
                  <a:pt x="91" y="431"/>
                </a:lnTo>
                <a:lnTo>
                  <a:pt x="0" y="409"/>
                </a:lnTo>
                <a:lnTo>
                  <a:pt x="68" y="341"/>
                </a:lnTo>
                <a:lnTo>
                  <a:pt x="114" y="318"/>
                </a:lnTo>
                <a:lnTo>
                  <a:pt x="114" y="273"/>
                </a:lnTo>
                <a:lnTo>
                  <a:pt x="182" y="250"/>
                </a:lnTo>
                <a:lnTo>
                  <a:pt x="159" y="227"/>
                </a:lnTo>
                <a:lnTo>
                  <a:pt x="91" y="227"/>
                </a:lnTo>
                <a:lnTo>
                  <a:pt x="159" y="205"/>
                </a:lnTo>
                <a:lnTo>
                  <a:pt x="159" y="137"/>
                </a:lnTo>
                <a:lnTo>
                  <a:pt x="136" y="137"/>
                </a:lnTo>
                <a:lnTo>
                  <a:pt x="136" y="114"/>
                </a:lnTo>
                <a:lnTo>
                  <a:pt x="114" y="91"/>
                </a:lnTo>
                <a:lnTo>
                  <a:pt x="136" y="46"/>
                </a:lnTo>
                <a:lnTo>
                  <a:pt x="114" y="46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0" name="Freeform 12"/>
          <p:cNvSpPr>
            <a:spLocks/>
          </p:cNvSpPr>
          <p:nvPr/>
        </p:nvSpPr>
        <p:spPr bwMode="auto">
          <a:xfrm>
            <a:off x="2100002" y="5164138"/>
            <a:ext cx="554911" cy="476250"/>
          </a:xfrm>
          <a:custGeom>
            <a:avLst/>
            <a:gdLst>
              <a:gd name="T0" fmla="*/ 253 w 408"/>
              <a:gd name="T1" fmla="*/ 16 h 431"/>
              <a:gd name="T2" fmla="*/ 237 w 408"/>
              <a:gd name="T3" fmla="*/ 31 h 431"/>
              <a:gd name="T4" fmla="*/ 221 w 408"/>
              <a:gd name="T5" fmla="*/ 0 h 431"/>
              <a:gd name="T6" fmla="*/ 189 w 408"/>
              <a:gd name="T7" fmla="*/ 0 h 431"/>
              <a:gd name="T8" fmla="*/ 173 w 408"/>
              <a:gd name="T9" fmla="*/ 16 h 431"/>
              <a:gd name="T10" fmla="*/ 142 w 408"/>
              <a:gd name="T11" fmla="*/ 16 h 431"/>
              <a:gd name="T12" fmla="*/ 110 w 408"/>
              <a:gd name="T13" fmla="*/ 31 h 431"/>
              <a:gd name="T14" fmla="*/ 110 w 408"/>
              <a:gd name="T15" fmla="*/ 47 h 431"/>
              <a:gd name="T16" fmla="*/ 95 w 408"/>
              <a:gd name="T17" fmla="*/ 63 h 431"/>
              <a:gd name="T18" fmla="*/ 95 w 408"/>
              <a:gd name="T19" fmla="*/ 79 h 431"/>
              <a:gd name="T20" fmla="*/ 63 w 408"/>
              <a:gd name="T21" fmla="*/ 79 h 431"/>
              <a:gd name="T22" fmla="*/ 47 w 408"/>
              <a:gd name="T23" fmla="*/ 63 h 431"/>
              <a:gd name="T24" fmla="*/ 15 w 408"/>
              <a:gd name="T25" fmla="*/ 79 h 431"/>
              <a:gd name="T26" fmla="*/ 31 w 408"/>
              <a:gd name="T27" fmla="*/ 95 h 431"/>
              <a:gd name="T28" fmla="*/ 0 w 408"/>
              <a:gd name="T29" fmla="*/ 95 h 431"/>
              <a:gd name="T30" fmla="*/ 47 w 408"/>
              <a:gd name="T31" fmla="*/ 111 h 431"/>
              <a:gd name="T32" fmla="*/ 63 w 408"/>
              <a:gd name="T33" fmla="*/ 142 h 431"/>
              <a:gd name="T34" fmla="*/ 110 w 408"/>
              <a:gd name="T35" fmla="*/ 142 h 431"/>
              <a:gd name="T36" fmla="*/ 95 w 408"/>
              <a:gd name="T37" fmla="*/ 173 h 431"/>
              <a:gd name="T38" fmla="*/ 31 w 408"/>
              <a:gd name="T39" fmla="*/ 205 h 431"/>
              <a:gd name="T40" fmla="*/ 47 w 408"/>
              <a:gd name="T41" fmla="*/ 221 h 431"/>
              <a:gd name="T42" fmla="*/ 47 w 408"/>
              <a:gd name="T43" fmla="*/ 253 h 431"/>
              <a:gd name="T44" fmla="*/ 126 w 408"/>
              <a:gd name="T45" fmla="*/ 221 h 431"/>
              <a:gd name="T46" fmla="*/ 189 w 408"/>
              <a:gd name="T47" fmla="*/ 300 h 431"/>
              <a:gd name="T48" fmla="*/ 205 w 408"/>
              <a:gd name="T49" fmla="*/ 268 h 431"/>
              <a:gd name="T50" fmla="*/ 205 w 408"/>
              <a:gd name="T51" fmla="*/ 253 h 431"/>
              <a:gd name="T52" fmla="*/ 173 w 408"/>
              <a:gd name="T53" fmla="*/ 237 h 431"/>
              <a:gd name="T54" fmla="*/ 173 w 408"/>
              <a:gd name="T55" fmla="*/ 189 h 431"/>
              <a:gd name="T56" fmla="*/ 221 w 408"/>
              <a:gd name="T57" fmla="*/ 142 h 431"/>
              <a:gd name="T58" fmla="*/ 268 w 408"/>
              <a:gd name="T59" fmla="*/ 158 h 431"/>
              <a:gd name="T60" fmla="*/ 284 w 408"/>
              <a:gd name="T61" fmla="*/ 126 h 431"/>
              <a:gd name="T62" fmla="*/ 253 w 408"/>
              <a:gd name="T63" fmla="*/ 111 h 431"/>
              <a:gd name="T64" fmla="*/ 253 w 408"/>
              <a:gd name="T65" fmla="*/ 95 h 431"/>
              <a:gd name="T66" fmla="*/ 237 w 408"/>
              <a:gd name="T67" fmla="*/ 79 h 431"/>
              <a:gd name="T68" fmla="*/ 253 w 408"/>
              <a:gd name="T69" fmla="*/ 63 h 431"/>
              <a:gd name="T70" fmla="*/ 237 w 408"/>
              <a:gd name="T71" fmla="*/ 47 h 431"/>
              <a:gd name="T72" fmla="*/ 268 w 408"/>
              <a:gd name="T73" fmla="*/ 16 h 431"/>
              <a:gd name="T74" fmla="*/ 253 w 408"/>
              <a:gd name="T75" fmla="*/ 16 h 43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08" h="431">
                <a:moveTo>
                  <a:pt x="363" y="23"/>
                </a:moveTo>
                <a:lnTo>
                  <a:pt x="340" y="45"/>
                </a:lnTo>
                <a:lnTo>
                  <a:pt x="317" y="0"/>
                </a:lnTo>
                <a:lnTo>
                  <a:pt x="272" y="0"/>
                </a:lnTo>
                <a:lnTo>
                  <a:pt x="249" y="23"/>
                </a:lnTo>
                <a:lnTo>
                  <a:pt x="204" y="23"/>
                </a:lnTo>
                <a:lnTo>
                  <a:pt x="158" y="45"/>
                </a:lnTo>
                <a:lnTo>
                  <a:pt x="158" y="68"/>
                </a:lnTo>
                <a:lnTo>
                  <a:pt x="136" y="91"/>
                </a:lnTo>
                <a:lnTo>
                  <a:pt x="136" y="113"/>
                </a:lnTo>
                <a:lnTo>
                  <a:pt x="90" y="113"/>
                </a:lnTo>
                <a:lnTo>
                  <a:pt x="68" y="91"/>
                </a:lnTo>
                <a:lnTo>
                  <a:pt x="22" y="113"/>
                </a:lnTo>
                <a:lnTo>
                  <a:pt x="45" y="136"/>
                </a:lnTo>
                <a:lnTo>
                  <a:pt x="0" y="136"/>
                </a:lnTo>
                <a:lnTo>
                  <a:pt x="68" y="159"/>
                </a:lnTo>
                <a:lnTo>
                  <a:pt x="90" y="204"/>
                </a:lnTo>
                <a:lnTo>
                  <a:pt x="158" y="204"/>
                </a:lnTo>
                <a:lnTo>
                  <a:pt x="136" y="249"/>
                </a:lnTo>
                <a:lnTo>
                  <a:pt x="45" y="295"/>
                </a:lnTo>
                <a:lnTo>
                  <a:pt x="68" y="317"/>
                </a:lnTo>
                <a:lnTo>
                  <a:pt x="68" y="363"/>
                </a:lnTo>
                <a:lnTo>
                  <a:pt x="181" y="317"/>
                </a:lnTo>
                <a:lnTo>
                  <a:pt x="272" y="431"/>
                </a:lnTo>
                <a:lnTo>
                  <a:pt x="295" y="385"/>
                </a:lnTo>
                <a:lnTo>
                  <a:pt x="295" y="363"/>
                </a:lnTo>
                <a:lnTo>
                  <a:pt x="249" y="340"/>
                </a:lnTo>
                <a:lnTo>
                  <a:pt x="249" y="272"/>
                </a:lnTo>
                <a:lnTo>
                  <a:pt x="317" y="204"/>
                </a:lnTo>
                <a:lnTo>
                  <a:pt x="385" y="227"/>
                </a:lnTo>
                <a:lnTo>
                  <a:pt x="408" y="181"/>
                </a:lnTo>
                <a:lnTo>
                  <a:pt x="363" y="159"/>
                </a:lnTo>
                <a:lnTo>
                  <a:pt x="363" y="136"/>
                </a:lnTo>
                <a:lnTo>
                  <a:pt x="340" y="113"/>
                </a:lnTo>
                <a:lnTo>
                  <a:pt x="363" y="91"/>
                </a:lnTo>
                <a:lnTo>
                  <a:pt x="340" y="68"/>
                </a:lnTo>
                <a:lnTo>
                  <a:pt x="385" y="23"/>
                </a:lnTo>
                <a:lnTo>
                  <a:pt x="363" y="23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1" name="Freeform 13"/>
          <p:cNvSpPr>
            <a:spLocks/>
          </p:cNvSpPr>
          <p:nvPr/>
        </p:nvSpPr>
        <p:spPr bwMode="auto">
          <a:xfrm>
            <a:off x="1914342" y="5264205"/>
            <a:ext cx="400552" cy="325437"/>
          </a:xfrm>
          <a:custGeom>
            <a:avLst/>
            <a:gdLst>
              <a:gd name="T0" fmla="*/ 15 w 294"/>
              <a:gd name="T1" fmla="*/ 63 h 294"/>
              <a:gd name="T2" fmla="*/ 0 w 294"/>
              <a:gd name="T3" fmla="*/ 95 h 294"/>
              <a:gd name="T4" fmla="*/ 47 w 294"/>
              <a:gd name="T5" fmla="*/ 126 h 294"/>
              <a:gd name="T6" fmla="*/ 47 w 294"/>
              <a:gd name="T7" fmla="*/ 174 h 294"/>
              <a:gd name="T8" fmla="*/ 79 w 294"/>
              <a:gd name="T9" fmla="*/ 205 h 294"/>
              <a:gd name="T10" fmla="*/ 79 w 294"/>
              <a:gd name="T11" fmla="*/ 142 h 294"/>
              <a:gd name="T12" fmla="*/ 110 w 294"/>
              <a:gd name="T13" fmla="*/ 126 h 294"/>
              <a:gd name="T14" fmla="*/ 126 w 294"/>
              <a:gd name="T15" fmla="*/ 142 h 294"/>
              <a:gd name="T16" fmla="*/ 190 w 294"/>
              <a:gd name="T17" fmla="*/ 110 h 294"/>
              <a:gd name="T18" fmla="*/ 205 w 294"/>
              <a:gd name="T19" fmla="*/ 78 h 294"/>
              <a:gd name="T20" fmla="*/ 158 w 294"/>
              <a:gd name="T21" fmla="*/ 79 h 294"/>
              <a:gd name="T22" fmla="*/ 142 w 294"/>
              <a:gd name="T23" fmla="*/ 47 h 294"/>
              <a:gd name="T24" fmla="*/ 95 w 294"/>
              <a:gd name="T25" fmla="*/ 31 h 294"/>
              <a:gd name="T26" fmla="*/ 79 w 294"/>
              <a:gd name="T27" fmla="*/ 47 h 294"/>
              <a:gd name="T28" fmla="*/ 63 w 294"/>
              <a:gd name="T29" fmla="*/ 31 h 294"/>
              <a:gd name="T30" fmla="*/ 63 w 294"/>
              <a:gd name="T31" fmla="*/ 15 h 294"/>
              <a:gd name="T32" fmla="*/ 47 w 294"/>
              <a:gd name="T33" fmla="*/ 0 h 294"/>
              <a:gd name="T34" fmla="*/ 31 w 294"/>
              <a:gd name="T35" fmla="*/ 15 h 294"/>
              <a:gd name="T36" fmla="*/ 15 w 294"/>
              <a:gd name="T37" fmla="*/ 31 h 294"/>
              <a:gd name="T38" fmla="*/ 47 w 294"/>
              <a:gd name="T39" fmla="*/ 47 h 294"/>
              <a:gd name="T40" fmla="*/ 31 w 294"/>
              <a:gd name="T41" fmla="*/ 63 h 294"/>
              <a:gd name="T42" fmla="*/ 31 w 294"/>
              <a:gd name="T43" fmla="*/ 79 h 294"/>
              <a:gd name="T44" fmla="*/ 15 w 294"/>
              <a:gd name="T45" fmla="*/ 79 h 294"/>
              <a:gd name="T46" fmla="*/ 15 w 294"/>
              <a:gd name="T47" fmla="*/ 63 h 29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94" h="294">
                <a:moveTo>
                  <a:pt x="22" y="90"/>
                </a:moveTo>
                <a:lnTo>
                  <a:pt x="0" y="136"/>
                </a:lnTo>
                <a:lnTo>
                  <a:pt x="68" y="181"/>
                </a:lnTo>
                <a:lnTo>
                  <a:pt x="68" y="249"/>
                </a:lnTo>
                <a:lnTo>
                  <a:pt x="113" y="294"/>
                </a:lnTo>
                <a:lnTo>
                  <a:pt x="113" y="204"/>
                </a:lnTo>
                <a:lnTo>
                  <a:pt x="158" y="181"/>
                </a:lnTo>
                <a:lnTo>
                  <a:pt x="181" y="204"/>
                </a:lnTo>
                <a:lnTo>
                  <a:pt x="272" y="158"/>
                </a:lnTo>
                <a:lnTo>
                  <a:pt x="294" y="112"/>
                </a:lnTo>
                <a:lnTo>
                  <a:pt x="226" y="113"/>
                </a:lnTo>
                <a:lnTo>
                  <a:pt x="204" y="68"/>
                </a:lnTo>
                <a:lnTo>
                  <a:pt x="136" y="45"/>
                </a:lnTo>
                <a:lnTo>
                  <a:pt x="113" y="68"/>
                </a:lnTo>
                <a:lnTo>
                  <a:pt x="90" y="45"/>
                </a:lnTo>
                <a:lnTo>
                  <a:pt x="90" y="22"/>
                </a:lnTo>
                <a:lnTo>
                  <a:pt x="68" y="0"/>
                </a:lnTo>
                <a:lnTo>
                  <a:pt x="45" y="22"/>
                </a:lnTo>
                <a:lnTo>
                  <a:pt x="22" y="45"/>
                </a:lnTo>
                <a:lnTo>
                  <a:pt x="68" y="68"/>
                </a:lnTo>
                <a:lnTo>
                  <a:pt x="45" y="90"/>
                </a:lnTo>
                <a:lnTo>
                  <a:pt x="45" y="113"/>
                </a:lnTo>
                <a:lnTo>
                  <a:pt x="22" y="113"/>
                </a:lnTo>
                <a:lnTo>
                  <a:pt x="22" y="9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2" name="Freeform 14"/>
          <p:cNvSpPr>
            <a:spLocks/>
          </p:cNvSpPr>
          <p:nvPr/>
        </p:nvSpPr>
        <p:spPr bwMode="auto">
          <a:xfrm>
            <a:off x="5527128" y="4060880"/>
            <a:ext cx="740532" cy="676275"/>
          </a:xfrm>
          <a:custGeom>
            <a:avLst/>
            <a:gdLst>
              <a:gd name="T0" fmla="*/ 269 w 544"/>
              <a:gd name="T1" fmla="*/ 158 h 612"/>
              <a:gd name="T2" fmla="*/ 237 w 544"/>
              <a:gd name="T3" fmla="*/ 158 h 612"/>
              <a:gd name="T4" fmla="*/ 206 w 544"/>
              <a:gd name="T5" fmla="*/ 189 h 612"/>
              <a:gd name="T6" fmla="*/ 174 w 544"/>
              <a:gd name="T7" fmla="*/ 253 h 612"/>
              <a:gd name="T8" fmla="*/ 158 w 544"/>
              <a:gd name="T9" fmla="*/ 331 h 612"/>
              <a:gd name="T10" fmla="*/ 142 w 544"/>
              <a:gd name="T11" fmla="*/ 363 h 612"/>
              <a:gd name="T12" fmla="*/ 158 w 544"/>
              <a:gd name="T13" fmla="*/ 379 h 612"/>
              <a:gd name="T14" fmla="*/ 111 w 544"/>
              <a:gd name="T15" fmla="*/ 426 h 612"/>
              <a:gd name="T16" fmla="*/ 79 w 544"/>
              <a:gd name="T17" fmla="*/ 426 h 612"/>
              <a:gd name="T18" fmla="*/ 79 w 544"/>
              <a:gd name="T19" fmla="*/ 395 h 612"/>
              <a:gd name="T20" fmla="*/ 31 w 544"/>
              <a:gd name="T21" fmla="*/ 379 h 612"/>
              <a:gd name="T22" fmla="*/ 0 w 544"/>
              <a:gd name="T23" fmla="*/ 331 h 612"/>
              <a:gd name="T24" fmla="*/ 16 w 544"/>
              <a:gd name="T25" fmla="*/ 316 h 612"/>
              <a:gd name="T26" fmla="*/ 47 w 544"/>
              <a:gd name="T27" fmla="*/ 316 h 612"/>
              <a:gd name="T28" fmla="*/ 111 w 544"/>
              <a:gd name="T29" fmla="*/ 269 h 612"/>
              <a:gd name="T30" fmla="*/ 174 w 544"/>
              <a:gd name="T31" fmla="*/ 205 h 612"/>
              <a:gd name="T32" fmla="*/ 190 w 544"/>
              <a:gd name="T33" fmla="*/ 158 h 612"/>
              <a:gd name="T34" fmla="*/ 206 w 544"/>
              <a:gd name="T35" fmla="*/ 142 h 612"/>
              <a:gd name="T36" fmla="*/ 190 w 544"/>
              <a:gd name="T37" fmla="*/ 126 h 612"/>
              <a:gd name="T38" fmla="*/ 206 w 544"/>
              <a:gd name="T39" fmla="*/ 95 h 612"/>
              <a:gd name="T40" fmla="*/ 190 w 544"/>
              <a:gd name="T41" fmla="*/ 79 h 612"/>
              <a:gd name="T42" fmla="*/ 206 w 544"/>
              <a:gd name="T43" fmla="*/ 47 h 612"/>
              <a:gd name="T44" fmla="*/ 222 w 544"/>
              <a:gd name="T45" fmla="*/ 31 h 612"/>
              <a:gd name="T46" fmla="*/ 253 w 544"/>
              <a:gd name="T47" fmla="*/ 16 h 612"/>
              <a:gd name="T48" fmla="*/ 269 w 544"/>
              <a:gd name="T49" fmla="*/ 31 h 612"/>
              <a:gd name="T50" fmla="*/ 316 w 544"/>
              <a:gd name="T51" fmla="*/ 16 h 612"/>
              <a:gd name="T52" fmla="*/ 379 w 544"/>
              <a:gd name="T53" fmla="*/ 0 h 612"/>
              <a:gd name="T54" fmla="*/ 379 w 544"/>
              <a:gd name="T55" fmla="*/ 31 h 612"/>
              <a:gd name="T56" fmla="*/ 348 w 544"/>
              <a:gd name="T57" fmla="*/ 31 h 612"/>
              <a:gd name="T58" fmla="*/ 332 w 544"/>
              <a:gd name="T59" fmla="*/ 47 h 612"/>
              <a:gd name="T60" fmla="*/ 332 w 544"/>
              <a:gd name="T61" fmla="*/ 79 h 612"/>
              <a:gd name="T62" fmla="*/ 300 w 544"/>
              <a:gd name="T63" fmla="*/ 63 h 612"/>
              <a:gd name="T64" fmla="*/ 269 w 544"/>
              <a:gd name="T65" fmla="*/ 95 h 612"/>
              <a:gd name="T66" fmla="*/ 253 w 544"/>
              <a:gd name="T67" fmla="*/ 79 h 612"/>
              <a:gd name="T68" fmla="*/ 222 w 544"/>
              <a:gd name="T69" fmla="*/ 95 h 612"/>
              <a:gd name="T70" fmla="*/ 237 w 544"/>
              <a:gd name="T71" fmla="*/ 111 h 612"/>
              <a:gd name="T72" fmla="*/ 222 w 544"/>
              <a:gd name="T73" fmla="*/ 126 h 612"/>
              <a:gd name="T74" fmla="*/ 237 w 544"/>
              <a:gd name="T75" fmla="*/ 126 h 612"/>
              <a:gd name="T76" fmla="*/ 253 w 544"/>
              <a:gd name="T77" fmla="*/ 142 h 612"/>
              <a:gd name="T78" fmla="*/ 269 w 544"/>
              <a:gd name="T79" fmla="*/ 142 h 612"/>
              <a:gd name="T80" fmla="*/ 269 w 544"/>
              <a:gd name="T81" fmla="*/ 158 h 61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44" h="612">
                <a:moveTo>
                  <a:pt x="386" y="227"/>
                </a:moveTo>
                <a:lnTo>
                  <a:pt x="340" y="227"/>
                </a:lnTo>
                <a:lnTo>
                  <a:pt x="295" y="272"/>
                </a:lnTo>
                <a:lnTo>
                  <a:pt x="250" y="363"/>
                </a:lnTo>
                <a:lnTo>
                  <a:pt x="227" y="476"/>
                </a:lnTo>
                <a:lnTo>
                  <a:pt x="204" y="522"/>
                </a:lnTo>
                <a:lnTo>
                  <a:pt x="227" y="544"/>
                </a:lnTo>
                <a:lnTo>
                  <a:pt x="159" y="612"/>
                </a:lnTo>
                <a:lnTo>
                  <a:pt x="114" y="612"/>
                </a:lnTo>
                <a:lnTo>
                  <a:pt x="114" y="567"/>
                </a:lnTo>
                <a:lnTo>
                  <a:pt x="45" y="544"/>
                </a:lnTo>
                <a:lnTo>
                  <a:pt x="0" y="476"/>
                </a:lnTo>
                <a:lnTo>
                  <a:pt x="23" y="454"/>
                </a:lnTo>
                <a:lnTo>
                  <a:pt x="68" y="454"/>
                </a:lnTo>
                <a:lnTo>
                  <a:pt x="159" y="386"/>
                </a:lnTo>
                <a:lnTo>
                  <a:pt x="250" y="295"/>
                </a:lnTo>
                <a:lnTo>
                  <a:pt x="272" y="227"/>
                </a:lnTo>
                <a:lnTo>
                  <a:pt x="295" y="204"/>
                </a:lnTo>
                <a:lnTo>
                  <a:pt x="272" y="181"/>
                </a:lnTo>
                <a:lnTo>
                  <a:pt x="295" y="136"/>
                </a:lnTo>
                <a:lnTo>
                  <a:pt x="272" y="113"/>
                </a:lnTo>
                <a:lnTo>
                  <a:pt x="295" y="68"/>
                </a:lnTo>
                <a:lnTo>
                  <a:pt x="318" y="45"/>
                </a:lnTo>
                <a:lnTo>
                  <a:pt x="363" y="23"/>
                </a:lnTo>
                <a:lnTo>
                  <a:pt x="386" y="45"/>
                </a:lnTo>
                <a:lnTo>
                  <a:pt x="454" y="23"/>
                </a:lnTo>
                <a:lnTo>
                  <a:pt x="544" y="0"/>
                </a:lnTo>
                <a:lnTo>
                  <a:pt x="544" y="45"/>
                </a:lnTo>
                <a:lnTo>
                  <a:pt x="499" y="45"/>
                </a:lnTo>
                <a:lnTo>
                  <a:pt x="476" y="68"/>
                </a:lnTo>
                <a:lnTo>
                  <a:pt x="476" y="113"/>
                </a:lnTo>
                <a:lnTo>
                  <a:pt x="431" y="91"/>
                </a:lnTo>
                <a:lnTo>
                  <a:pt x="386" y="136"/>
                </a:lnTo>
                <a:lnTo>
                  <a:pt x="363" y="113"/>
                </a:lnTo>
                <a:lnTo>
                  <a:pt x="318" y="136"/>
                </a:lnTo>
                <a:lnTo>
                  <a:pt x="340" y="159"/>
                </a:lnTo>
                <a:lnTo>
                  <a:pt x="318" y="181"/>
                </a:lnTo>
                <a:lnTo>
                  <a:pt x="340" y="181"/>
                </a:lnTo>
                <a:lnTo>
                  <a:pt x="363" y="204"/>
                </a:lnTo>
                <a:lnTo>
                  <a:pt x="386" y="204"/>
                </a:lnTo>
                <a:lnTo>
                  <a:pt x="386" y="227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3" name="Freeform 15"/>
          <p:cNvSpPr>
            <a:spLocks/>
          </p:cNvSpPr>
          <p:nvPr/>
        </p:nvSpPr>
        <p:spPr bwMode="auto">
          <a:xfrm>
            <a:off x="1851818" y="5765800"/>
            <a:ext cx="277456" cy="150812"/>
          </a:xfrm>
          <a:custGeom>
            <a:avLst/>
            <a:gdLst>
              <a:gd name="T0" fmla="*/ 63 w 204"/>
              <a:gd name="T1" fmla="*/ 32 h 136"/>
              <a:gd name="T2" fmla="*/ 111 w 204"/>
              <a:gd name="T3" fmla="*/ 16 h 136"/>
              <a:gd name="T4" fmla="*/ 142 w 204"/>
              <a:gd name="T5" fmla="*/ 32 h 136"/>
              <a:gd name="T6" fmla="*/ 127 w 204"/>
              <a:gd name="T7" fmla="*/ 64 h 136"/>
              <a:gd name="T8" fmla="*/ 111 w 204"/>
              <a:gd name="T9" fmla="*/ 48 h 136"/>
              <a:gd name="T10" fmla="*/ 79 w 204"/>
              <a:gd name="T11" fmla="*/ 48 h 136"/>
              <a:gd name="T12" fmla="*/ 63 w 204"/>
              <a:gd name="T13" fmla="*/ 64 h 136"/>
              <a:gd name="T14" fmla="*/ 16 w 204"/>
              <a:gd name="T15" fmla="*/ 95 h 136"/>
              <a:gd name="T16" fmla="*/ 0 w 204"/>
              <a:gd name="T17" fmla="*/ 80 h 136"/>
              <a:gd name="T18" fmla="*/ 16 w 204"/>
              <a:gd name="T19" fmla="*/ 64 h 136"/>
              <a:gd name="T20" fmla="*/ 0 w 204"/>
              <a:gd name="T21" fmla="*/ 48 h 136"/>
              <a:gd name="T22" fmla="*/ 47 w 204"/>
              <a:gd name="T23" fmla="*/ 0 h 136"/>
              <a:gd name="T24" fmla="*/ 79 w 204"/>
              <a:gd name="T25" fmla="*/ 0 h 136"/>
              <a:gd name="T26" fmla="*/ 63 w 204"/>
              <a:gd name="T27" fmla="*/ 32 h 1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04" h="136">
                <a:moveTo>
                  <a:pt x="91" y="46"/>
                </a:moveTo>
                <a:lnTo>
                  <a:pt x="159" y="23"/>
                </a:lnTo>
                <a:lnTo>
                  <a:pt x="204" y="46"/>
                </a:lnTo>
                <a:lnTo>
                  <a:pt x="182" y="91"/>
                </a:lnTo>
                <a:lnTo>
                  <a:pt x="159" y="68"/>
                </a:lnTo>
                <a:lnTo>
                  <a:pt x="114" y="68"/>
                </a:lnTo>
                <a:lnTo>
                  <a:pt x="91" y="91"/>
                </a:lnTo>
                <a:lnTo>
                  <a:pt x="23" y="136"/>
                </a:lnTo>
                <a:lnTo>
                  <a:pt x="0" y="114"/>
                </a:lnTo>
                <a:lnTo>
                  <a:pt x="23" y="91"/>
                </a:lnTo>
                <a:lnTo>
                  <a:pt x="0" y="68"/>
                </a:lnTo>
                <a:lnTo>
                  <a:pt x="68" y="0"/>
                </a:lnTo>
                <a:lnTo>
                  <a:pt x="114" y="0"/>
                </a:lnTo>
                <a:lnTo>
                  <a:pt x="91" y="46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4" name="Freeform 16"/>
          <p:cNvSpPr>
            <a:spLocks/>
          </p:cNvSpPr>
          <p:nvPr/>
        </p:nvSpPr>
        <p:spPr bwMode="auto">
          <a:xfrm>
            <a:off x="1789294" y="5315005"/>
            <a:ext cx="330211" cy="427037"/>
          </a:xfrm>
          <a:custGeom>
            <a:avLst/>
            <a:gdLst>
              <a:gd name="T0" fmla="*/ 139 w 249"/>
              <a:gd name="T1" fmla="*/ 174 h 386"/>
              <a:gd name="T2" fmla="*/ 109 w 249"/>
              <a:gd name="T3" fmla="*/ 142 h 386"/>
              <a:gd name="T4" fmla="*/ 109 w 249"/>
              <a:gd name="T5" fmla="*/ 95 h 386"/>
              <a:gd name="T6" fmla="*/ 62 w 249"/>
              <a:gd name="T7" fmla="*/ 63 h 386"/>
              <a:gd name="T8" fmla="*/ 77 w 249"/>
              <a:gd name="T9" fmla="*/ 31 h 386"/>
              <a:gd name="T10" fmla="*/ 62 w 249"/>
              <a:gd name="T11" fmla="*/ 16 h 386"/>
              <a:gd name="T12" fmla="*/ 46 w 249"/>
              <a:gd name="T13" fmla="*/ 16 h 386"/>
              <a:gd name="T14" fmla="*/ 16 w 249"/>
              <a:gd name="T15" fmla="*/ 0 h 386"/>
              <a:gd name="T16" fmla="*/ 16 w 249"/>
              <a:gd name="T17" fmla="*/ 16 h 386"/>
              <a:gd name="T18" fmla="*/ 31 w 249"/>
              <a:gd name="T19" fmla="*/ 31 h 386"/>
              <a:gd name="T20" fmla="*/ 16 w 249"/>
              <a:gd name="T21" fmla="*/ 47 h 386"/>
              <a:gd name="T22" fmla="*/ 31 w 249"/>
              <a:gd name="T23" fmla="*/ 79 h 386"/>
              <a:gd name="T24" fmla="*/ 62 w 249"/>
              <a:gd name="T25" fmla="*/ 79 h 386"/>
              <a:gd name="T26" fmla="*/ 46 w 249"/>
              <a:gd name="T27" fmla="*/ 95 h 386"/>
              <a:gd name="T28" fmla="*/ 77 w 249"/>
              <a:gd name="T29" fmla="*/ 111 h 386"/>
              <a:gd name="T30" fmla="*/ 93 w 249"/>
              <a:gd name="T31" fmla="*/ 142 h 386"/>
              <a:gd name="T32" fmla="*/ 77 w 249"/>
              <a:gd name="T33" fmla="*/ 158 h 386"/>
              <a:gd name="T34" fmla="*/ 93 w 249"/>
              <a:gd name="T35" fmla="*/ 190 h 386"/>
              <a:gd name="T36" fmla="*/ 77 w 249"/>
              <a:gd name="T37" fmla="*/ 190 h 386"/>
              <a:gd name="T38" fmla="*/ 62 w 249"/>
              <a:gd name="T39" fmla="*/ 174 h 386"/>
              <a:gd name="T40" fmla="*/ 46 w 249"/>
              <a:gd name="T41" fmla="*/ 190 h 386"/>
              <a:gd name="T42" fmla="*/ 31 w 249"/>
              <a:gd name="T43" fmla="*/ 158 h 386"/>
              <a:gd name="T44" fmla="*/ 46 w 249"/>
              <a:gd name="T45" fmla="*/ 142 h 386"/>
              <a:gd name="T46" fmla="*/ 46 w 249"/>
              <a:gd name="T47" fmla="*/ 126 h 386"/>
              <a:gd name="T48" fmla="*/ 31 w 249"/>
              <a:gd name="T49" fmla="*/ 126 h 386"/>
              <a:gd name="T50" fmla="*/ 46 w 249"/>
              <a:gd name="T51" fmla="*/ 111 h 386"/>
              <a:gd name="T52" fmla="*/ 31 w 249"/>
              <a:gd name="T53" fmla="*/ 95 h 386"/>
              <a:gd name="T54" fmla="*/ 0 w 249"/>
              <a:gd name="T55" fmla="*/ 142 h 386"/>
              <a:gd name="T56" fmla="*/ 16 w 249"/>
              <a:gd name="T57" fmla="*/ 174 h 386"/>
              <a:gd name="T58" fmla="*/ 31 w 249"/>
              <a:gd name="T59" fmla="*/ 174 h 386"/>
              <a:gd name="T60" fmla="*/ 31 w 249"/>
              <a:gd name="T61" fmla="*/ 206 h 386"/>
              <a:gd name="T62" fmla="*/ 46 w 249"/>
              <a:gd name="T63" fmla="*/ 222 h 386"/>
              <a:gd name="T64" fmla="*/ 16 w 249"/>
              <a:gd name="T65" fmla="*/ 253 h 386"/>
              <a:gd name="T66" fmla="*/ 46 w 249"/>
              <a:gd name="T67" fmla="*/ 237 h 386"/>
              <a:gd name="T68" fmla="*/ 62 w 249"/>
              <a:gd name="T69" fmla="*/ 206 h 386"/>
              <a:gd name="T70" fmla="*/ 77 w 249"/>
              <a:gd name="T71" fmla="*/ 222 h 386"/>
              <a:gd name="T72" fmla="*/ 109 w 249"/>
              <a:gd name="T73" fmla="*/ 206 h 386"/>
              <a:gd name="T74" fmla="*/ 124 w 249"/>
              <a:gd name="T75" fmla="*/ 222 h 386"/>
              <a:gd name="T76" fmla="*/ 124 w 249"/>
              <a:gd name="T77" fmla="*/ 237 h 386"/>
              <a:gd name="T78" fmla="*/ 109 w 249"/>
              <a:gd name="T79" fmla="*/ 253 h 386"/>
              <a:gd name="T80" fmla="*/ 124 w 249"/>
              <a:gd name="T81" fmla="*/ 269 h 386"/>
              <a:gd name="T82" fmla="*/ 139 w 249"/>
              <a:gd name="T83" fmla="*/ 253 h 386"/>
              <a:gd name="T84" fmla="*/ 155 w 249"/>
              <a:gd name="T85" fmla="*/ 253 h 386"/>
              <a:gd name="T86" fmla="*/ 170 w 249"/>
              <a:gd name="T87" fmla="*/ 222 h 386"/>
              <a:gd name="T88" fmla="*/ 170 w 249"/>
              <a:gd name="T89" fmla="*/ 190 h 386"/>
              <a:gd name="T90" fmla="*/ 155 w 249"/>
              <a:gd name="T91" fmla="*/ 206 h 386"/>
              <a:gd name="T92" fmla="*/ 124 w 249"/>
              <a:gd name="T93" fmla="*/ 206 h 386"/>
              <a:gd name="T94" fmla="*/ 109 w 249"/>
              <a:gd name="T95" fmla="*/ 190 h 386"/>
              <a:gd name="T96" fmla="*/ 139 w 249"/>
              <a:gd name="T97" fmla="*/ 174 h 38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249" h="386">
                <a:moveTo>
                  <a:pt x="204" y="249"/>
                </a:moveTo>
                <a:lnTo>
                  <a:pt x="159" y="204"/>
                </a:lnTo>
                <a:lnTo>
                  <a:pt x="159" y="136"/>
                </a:lnTo>
                <a:lnTo>
                  <a:pt x="91" y="91"/>
                </a:lnTo>
                <a:lnTo>
                  <a:pt x="113" y="45"/>
                </a:lnTo>
                <a:lnTo>
                  <a:pt x="91" y="23"/>
                </a:lnTo>
                <a:lnTo>
                  <a:pt x="68" y="23"/>
                </a:lnTo>
                <a:lnTo>
                  <a:pt x="23" y="0"/>
                </a:lnTo>
                <a:lnTo>
                  <a:pt x="23" y="23"/>
                </a:lnTo>
                <a:lnTo>
                  <a:pt x="45" y="45"/>
                </a:lnTo>
                <a:lnTo>
                  <a:pt x="23" y="68"/>
                </a:lnTo>
                <a:lnTo>
                  <a:pt x="45" y="113"/>
                </a:lnTo>
                <a:lnTo>
                  <a:pt x="91" y="113"/>
                </a:lnTo>
                <a:lnTo>
                  <a:pt x="68" y="136"/>
                </a:lnTo>
                <a:lnTo>
                  <a:pt x="113" y="159"/>
                </a:lnTo>
                <a:lnTo>
                  <a:pt x="136" y="204"/>
                </a:lnTo>
                <a:lnTo>
                  <a:pt x="113" y="227"/>
                </a:lnTo>
                <a:lnTo>
                  <a:pt x="136" y="272"/>
                </a:lnTo>
                <a:lnTo>
                  <a:pt x="113" y="272"/>
                </a:lnTo>
                <a:lnTo>
                  <a:pt x="91" y="249"/>
                </a:lnTo>
                <a:lnTo>
                  <a:pt x="68" y="272"/>
                </a:lnTo>
                <a:lnTo>
                  <a:pt x="45" y="227"/>
                </a:lnTo>
                <a:lnTo>
                  <a:pt x="68" y="204"/>
                </a:lnTo>
                <a:lnTo>
                  <a:pt x="68" y="181"/>
                </a:lnTo>
                <a:lnTo>
                  <a:pt x="45" y="181"/>
                </a:lnTo>
                <a:lnTo>
                  <a:pt x="68" y="159"/>
                </a:lnTo>
                <a:lnTo>
                  <a:pt x="45" y="136"/>
                </a:lnTo>
                <a:lnTo>
                  <a:pt x="0" y="204"/>
                </a:lnTo>
                <a:lnTo>
                  <a:pt x="23" y="249"/>
                </a:lnTo>
                <a:lnTo>
                  <a:pt x="45" y="249"/>
                </a:lnTo>
                <a:lnTo>
                  <a:pt x="45" y="295"/>
                </a:lnTo>
                <a:lnTo>
                  <a:pt x="68" y="318"/>
                </a:lnTo>
                <a:lnTo>
                  <a:pt x="23" y="363"/>
                </a:lnTo>
                <a:lnTo>
                  <a:pt x="68" y="340"/>
                </a:lnTo>
                <a:lnTo>
                  <a:pt x="91" y="295"/>
                </a:lnTo>
                <a:lnTo>
                  <a:pt x="113" y="318"/>
                </a:lnTo>
                <a:lnTo>
                  <a:pt x="159" y="295"/>
                </a:lnTo>
                <a:lnTo>
                  <a:pt x="181" y="318"/>
                </a:lnTo>
                <a:lnTo>
                  <a:pt x="181" y="340"/>
                </a:lnTo>
                <a:lnTo>
                  <a:pt x="159" y="363"/>
                </a:lnTo>
                <a:lnTo>
                  <a:pt x="181" y="386"/>
                </a:lnTo>
                <a:lnTo>
                  <a:pt x="204" y="363"/>
                </a:lnTo>
                <a:lnTo>
                  <a:pt x="227" y="363"/>
                </a:lnTo>
                <a:lnTo>
                  <a:pt x="249" y="318"/>
                </a:lnTo>
                <a:lnTo>
                  <a:pt x="249" y="272"/>
                </a:lnTo>
                <a:lnTo>
                  <a:pt x="227" y="295"/>
                </a:lnTo>
                <a:lnTo>
                  <a:pt x="181" y="295"/>
                </a:lnTo>
                <a:lnTo>
                  <a:pt x="159" y="272"/>
                </a:lnTo>
                <a:lnTo>
                  <a:pt x="204" y="249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5" name="Freeform 17"/>
          <p:cNvSpPr>
            <a:spLocks/>
          </p:cNvSpPr>
          <p:nvPr/>
        </p:nvSpPr>
        <p:spPr bwMode="auto">
          <a:xfrm>
            <a:off x="3211740" y="5314950"/>
            <a:ext cx="736624" cy="527050"/>
          </a:xfrm>
          <a:custGeom>
            <a:avLst/>
            <a:gdLst>
              <a:gd name="T0" fmla="*/ 204 w 544"/>
              <a:gd name="T1" fmla="*/ 0 h 476"/>
              <a:gd name="T2" fmla="*/ 141 w 544"/>
              <a:gd name="T3" fmla="*/ 16 h 476"/>
              <a:gd name="T4" fmla="*/ 141 w 544"/>
              <a:gd name="T5" fmla="*/ 47 h 476"/>
              <a:gd name="T6" fmla="*/ 110 w 544"/>
              <a:gd name="T7" fmla="*/ 63 h 476"/>
              <a:gd name="T8" fmla="*/ 110 w 544"/>
              <a:gd name="T9" fmla="*/ 95 h 476"/>
              <a:gd name="T10" fmla="*/ 79 w 544"/>
              <a:gd name="T11" fmla="*/ 111 h 476"/>
              <a:gd name="T12" fmla="*/ 32 w 544"/>
              <a:gd name="T13" fmla="*/ 126 h 476"/>
              <a:gd name="T14" fmla="*/ 0 w 544"/>
              <a:gd name="T15" fmla="*/ 142 h 476"/>
              <a:gd name="T16" fmla="*/ 16 w 544"/>
              <a:gd name="T17" fmla="*/ 158 h 476"/>
              <a:gd name="T18" fmla="*/ 0 w 544"/>
              <a:gd name="T19" fmla="*/ 190 h 476"/>
              <a:gd name="T20" fmla="*/ 32 w 544"/>
              <a:gd name="T21" fmla="*/ 206 h 476"/>
              <a:gd name="T22" fmla="*/ 32 w 544"/>
              <a:gd name="T23" fmla="*/ 222 h 476"/>
              <a:gd name="T24" fmla="*/ 0 w 544"/>
              <a:gd name="T25" fmla="*/ 253 h 476"/>
              <a:gd name="T26" fmla="*/ 0 w 544"/>
              <a:gd name="T27" fmla="*/ 285 h 476"/>
              <a:gd name="T28" fmla="*/ 16 w 544"/>
              <a:gd name="T29" fmla="*/ 332 h 476"/>
              <a:gd name="T30" fmla="*/ 32 w 544"/>
              <a:gd name="T31" fmla="*/ 332 h 476"/>
              <a:gd name="T32" fmla="*/ 47 w 544"/>
              <a:gd name="T33" fmla="*/ 285 h 476"/>
              <a:gd name="T34" fmla="*/ 63 w 544"/>
              <a:gd name="T35" fmla="*/ 269 h 476"/>
              <a:gd name="T36" fmla="*/ 94 w 544"/>
              <a:gd name="T37" fmla="*/ 237 h 476"/>
              <a:gd name="T38" fmla="*/ 126 w 544"/>
              <a:gd name="T39" fmla="*/ 237 h 476"/>
              <a:gd name="T40" fmla="*/ 110 w 544"/>
              <a:gd name="T41" fmla="*/ 174 h 476"/>
              <a:gd name="T42" fmla="*/ 173 w 544"/>
              <a:gd name="T43" fmla="*/ 190 h 476"/>
              <a:gd name="T44" fmla="*/ 204 w 544"/>
              <a:gd name="T45" fmla="*/ 126 h 476"/>
              <a:gd name="T46" fmla="*/ 252 w 544"/>
              <a:gd name="T47" fmla="*/ 95 h 476"/>
              <a:gd name="T48" fmla="*/ 299 w 544"/>
              <a:gd name="T49" fmla="*/ 111 h 476"/>
              <a:gd name="T50" fmla="*/ 330 w 544"/>
              <a:gd name="T51" fmla="*/ 111 h 476"/>
              <a:gd name="T52" fmla="*/ 346 w 544"/>
              <a:gd name="T53" fmla="*/ 111 h 476"/>
              <a:gd name="T54" fmla="*/ 377 w 544"/>
              <a:gd name="T55" fmla="*/ 79 h 476"/>
              <a:gd name="T56" fmla="*/ 362 w 544"/>
              <a:gd name="T57" fmla="*/ 47 h 476"/>
              <a:gd name="T58" fmla="*/ 315 w 544"/>
              <a:gd name="T59" fmla="*/ 79 h 476"/>
              <a:gd name="T60" fmla="*/ 283 w 544"/>
              <a:gd name="T61" fmla="*/ 63 h 476"/>
              <a:gd name="T62" fmla="*/ 220 w 544"/>
              <a:gd name="T63" fmla="*/ 63 h 476"/>
              <a:gd name="T64" fmla="*/ 204 w 544"/>
              <a:gd name="T65" fmla="*/ 31 h 476"/>
              <a:gd name="T66" fmla="*/ 204 w 544"/>
              <a:gd name="T67" fmla="*/ 0 h 47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544" h="476">
                <a:moveTo>
                  <a:pt x="295" y="0"/>
                </a:moveTo>
                <a:lnTo>
                  <a:pt x="204" y="23"/>
                </a:lnTo>
                <a:lnTo>
                  <a:pt x="204" y="68"/>
                </a:lnTo>
                <a:lnTo>
                  <a:pt x="159" y="91"/>
                </a:lnTo>
                <a:lnTo>
                  <a:pt x="159" y="136"/>
                </a:lnTo>
                <a:lnTo>
                  <a:pt x="114" y="159"/>
                </a:lnTo>
                <a:lnTo>
                  <a:pt x="46" y="181"/>
                </a:lnTo>
                <a:lnTo>
                  <a:pt x="0" y="204"/>
                </a:lnTo>
                <a:lnTo>
                  <a:pt x="23" y="227"/>
                </a:lnTo>
                <a:lnTo>
                  <a:pt x="0" y="272"/>
                </a:lnTo>
                <a:lnTo>
                  <a:pt x="46" y="295"/>
                </a:lnTo>
                <a:lnTo>
                  <a:pt x="46" y="318"/>
                </a:lnTo>
                <a:lnTo>
                  <a:pt x="0" y="363"/>
                </a:lnTo>
                <a:lnTo>
                  <a:pt x="0" y="408"/>
                </a:lnTo>
                <a:lnTo>
                  <a:pt x="23" y="476"/>
                </a:lnTo>
                <a:lnTo>
                  <a:pt x="46" y="476"/>
                </a:lnTo>
                <a:lnTo>
                  <a:pt x="68" y="408"/>
                </a:lnTo>
                <a:lnTo>
                  <a:pt x="91" y="386"/>
                </a:lnTo>
                <a:lnTo>
                  <a:pt x="136" y="340"/>
                </a:lnTo>
                <a:lnTo>
                  <a:pt x="182" y="340"/>
                </a:lnTo>
                <a:lnTo>
                  <a:pt x="159" y="249"/>
                </a:lnTo>
                <a:lnTo>
                  <a:pt x="250" y="272"/>
                </a:lnTo>
                <a:lnTo>
                  <a:pt x="295" y="181"/>
                </a:lnTo>
                <a:lnTo>
                  <a:pt x="363" y="136"/>
                </a:lnTo>
                <a:lnTo>
                  <a:pt x="431" y="159"/>
                </a:lnTo>
                <a:lnTo>
                  <a:pt x="476" y="159"/>
                </a:lnTo>
                <a:lnTo>
                  <a:pt x="499" y="159"/>
                </a:lnTo>
                <a:lnTo>
                  <a:pt x="544" y="113"/>
                </a:lnTo>
                <a:lnTo>
                  <a:pt x="522" y="68"/>
                </a:lnTo>
                <a:lnTo>
                  <a:pt x="454" y="113"/>
                </a:lnTo>
                <a:lnTo>
                  <a:pt x="408" y="91"/>
                </a:lnTo>
                <a:lnTo>
                  <a:pt x="318" y="91"/>
                </a:lnTo>
                <a:lnTo>
                  <a:pt x="295" y="45"/>
                </a:lnTo>
                <a:lnTo>
                  <a:pt x="295" y="0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6" name="Freeform 18"/>
          <p:cNvSpPr>
            <a:spLocks/>
          </p:cNvSpPr>
          <p:nvPr/>
        </p:nvSpPr>
        <p:spPr bwMode="auto">
          <a:xfrm>
            <a:off x="3243002" y="5465763"/>
            <a:ext cx="924200" cy="476250"/>
          </a:xfrm>
          <a:custGeom>
            <a:avLst/>
            <a:gdLst>
              <a:gd name="T0" fmla="*/ 394 w 680"/>
              <a:gd name="T1" fmla="*/ 47 h 431"/>
              <a:gd name="T2" fmla="*/ 378 w 680"/>
              <a:gd name="T3" fmla="*/ 31 h 431"/>
              <a:gd name="T4" fmla="*/ 347 w 680"/>
              <a:gd name="T5" fmla="*/ 31 h 431"/>
              <a:gd name="T6" fmla="*/ 331 w 680"/>
              <a:gd name="T7" fmla="*/ 16 h 431"/>
              <a:gd name="T8" fmla="*/ 284 w 680"/>
              <a:gd name="T9" fmla="*/ 16 h 431"/>
              <a:gd name="T10" fmla="*/ 237 w 680"/>
              <a:gd name="T11" fmla="*/ 0 h 431"/>
              <a:gd name="T12" fmla="*/ 189 w 680"/>
              <a:gd name="T13" fmla="*/ 31 h 431"/>
              <a:gd name="T14" fmla="*/ 158 w 680"/>
              <a:gd name="T15" fmla="*/ 95 h 431"/>
              <a:gd name="T16" fmla="*/ 95 w 680"/>
              <a:gd name="T17" fmla="*/ 79 h 431"/>
              <a:gd name="T18" fmla="*/ 111 w 680"/>
              <a:gd name="T19" fmla="*/ 142 h 431"/>
              <a:gd name="T20" fmla="*/ 79 w 680"/>
              <a:gd name="T21" fmla="*/ 142 h 431"/>
              <a:gd name="T22" fmla="*/ 31 w 680"/>
              <a:gd name="T23" fmla="*/ 189 h 431"/>
              <a:gd name="T24" fmla="*/ 16 w 680"/>
              <a:gd name="T25" fmla="*/ 237 h 431"/>
              <a:gd name="T26" fmla="*/ 31 w 680"/>
              <a:gd name="T27" fmla="*/ 253 h 431"/>
              <a:gd name="T28" fmla="*/ 0 w 680"/>
              <a:gd name="T29" fmla="*/ 269 h 431"/>
              <a:gd name="T30" fmla="*/ 31 w 680"/>
              <a:gd name="T31" fmla="*/ 284 h 431"/>
              <a:gd name="T32" fmla="*/ 47 w 680"/>
              <a:gd name="T33" fmla="*/ 284 h 431"/>
              <a:gd name="T34" fmla="*/ 79 w 680"/>
              <a:gd name="T35" fmla="*/ 300 h 431"/>
              <a:gd name="T36" fmla="*/ 79 w 680"/>
              <a:gd name="T37" fmla="*/ 269 h 431"/>
              <a:gd name="T38" fmla="*/ 95 w 680"/>
              <a:gd name="T39" fmla="*/ 269 h 431"/>
              <a:gd name="T40" fmla="*/ 95 w 680"/>
              <a:gd name="T41" fmla="*/ 237 h 431"/>
              <a:gd name="T42" fmla="*/ 111 w 680"/>
              <a:gd name="T43" fmla="*/ 221 h 431"/>
              <a:gd name="T44" fmla="*/ 126 w 680"/>
              <a:gd name="T45" fmla="*/ 237 h 431"/>
              <a:gd name="T46" fmla="*/ 189 w 680"/>
              <a:gd name="T47" fmla="*/ 174 h 431"/>
              <a:gd name="T48" fmla="*/ 189 w 680"/>
              <a:gd name="T49" fmla="*/ 158 h 431"/>
              <a:gd name="T50" fmla="*/ 205 w 680"/>
              <a:gd name="T51" fmla="*/ 142 h 431"/>
              <a:gd name="T52" fmla="*/ 252 w 680"/>
              <a:gd name="T53" fmla="*/ 142 h 431"/>
              <a:gd name="T54" fmla="*/ 268 w 680"/>
              <a:gd name="T55" fmla="*/ 127 h 431"/>
              <a:gd name="T56" fmla="*/ 331 w 680"/>
              <a:gd name="T57" fmla="*/ 111 h 431"/>
              <a:gd name="T58" fmla="*/ 346 w 680"/>
              <a:gd name="T59" fmla="*/ 133 h 431"/>
              <a:gd name="T60" fmla="*/ 381 w 680"/>
              <a:gd name="T61" fmla="*/ 147 h 431"/>
              <a:gd name="T62" fmla="*/ 394 w 680"/>
              <a:gd name="T63" fmla="*/ 174 h 431"/>
              <a:gd name="T64" fmla="*/ 417 w 680"/>
              <a:gd name="T65" fmla="*/ 235 h 431"/>
              <a:gd name="T66" fmla="*/ 458 w 680"/>
              <a:gd name="T67" fmla="*/ 174 h 431"/>
              <a:gd name="T68" fmla="*/ 473 w 680"/>
              <a:gd name="T69" fmla="*/ 158 h 431"/>
              <a:gd name="T70" fmla="*/ 442 w 680"/>
              <a:gd name="T71" fmla="*/ 142 h 431"/>
              <a:gd name="T72" fmla="*/ 442 w 680"/>
              <a:gd name="T73" fmla="*/ 127 h 431"/>
              <a:gd name="T74" fmla="*/ 458 w 680"/>
              <a:gd name="T75" fmla="*/ 111 h 431"/>
              <a:gd name="T76" fmla="*/ 426 w 680"/>
              <a:gd name="T77" fmla="*/ 95 h 431"/>
              <a:gd name="T78" fmla="*/ 426 w 680"/>
              <a:gd name="T79" fmla="*/ 63 h 431"/>
              <a:gd name="T80" fmla="*/ 394 w 680"/>
              <a:gd name="T81" fmla="*/ 47 h 43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680" h="431">
                <a:moveTo>
                  <a:pt x="567" y="68"/>
                </a:moveTo>
                <a:lnTo>
                  <a:pt x="544" y="45"/>
                </a:lnTo>
                <a:lnTo>
                  <a:pt x="499" y="45"/>
                </a:lnTo>
                <a:lnTo>
                  <a:pt x="476" y="23"/>
                </a:lnTo>
                <a:lnTo>
                  <a:pt x="408" y="23"/>
                </a:lnTo>
                <a:lnTo>
                  <a:pt x="340" y="0"/>
                </a:lnTo>
                <a:lnTo>
                  <a:pt x="272" y="45"/>
                </a:lnTo>
                <a:lnTo>
                  <a:pt x="227" y="136"/>
                </a:lnTo>
                <a:lnTo>
                  <a:pt x="136" y="113"/>
                </a:lnTo>
                <a:lnTo>
                  <a:pt x="159" y="204"/>
                </a:lnTo>
                <a:lnTo>
                  <a:pt x="113" y="204"/>
                </a:lnTo>
                <a:lnTo>
                  <a:pt x="45" y="272"/>
                </a:lnTo>
                <a:lnTo>
                  <a:pt x="23" y="340"/>
                </a:lnTo>
                <a:lnTo>
                  <a:pt x="45" y="363"/>
                </a:lnTo>
                <a:lnTo>
                  <a:pt x="0" y="386"/>
                </a:lnTo>
                <a:lnTo>
                  <a:pt x="45" y="408"/>
                </a:lnTo>
                <a:lnTo>
                  <a:pt x="68" y="408"/>
                </a:lnTo>
                <a:lnTo>
                  <a:pt x="113" y="431"/>
                </a:lnTo>
                <a:lnTo>
                  <a:pt x="113" y="386"/>
                </a:lnTo>
                <a:lnTo>
                  <a:pt x="136" y="386"/>
                </a:lnTo>
                <a:lnTo>
                  <a:pt x="136" y="340"/>
                </a:lnTo>
                <a:lnTo>
                  <a:pt x="159" y="318"/>
                </a:lnTo>
                <a:lnTo>
                  <a:pt x="181" y="340"/>
                </a:lnTo>
                <a:lnTo>
                  <a:pt x="272" y="250"/>
                </a:lnTo>
                <a:lnTo>
                  <a:pt x="272" y="227"/>
                </a:lnTo>
                <a:lnTo>
                  <a:pt x="295" y="204"/>
                </a:lnTo>
                <a:lnTo>
                  <a:pt x="363" y="204"/>
                </a:lnTo>
                <a:lnTo>
                  <a:pt x="385" y="182"/>
                </a:lnTo>
                <a:lnTo>
                  <a:pt x="476" y="159"/>
                </a:lnTo>
                <a:lnTo>
                  <a:pt x="498" y="191"/>
                </a:lnTo>
                <a:lnTo>
                  <a:pt x="548" y="211"/>
                </a:lnTo>
                <a:lnTo>
                  <a:pt x="567" y="250"/>
                </a:lnTo>
                <a:lnTo>
                  <a:pt x="600" y="337"/>
                </a:lnTo>
                <a:lnTo>
                  <a:pt x="658" y="250"/>
                </a:lnTo>
                <a:lnTo>
                  <a:pt x="680" y="227"/>
                </a:lnTo>
                <a:lnTo>
                  <a:pt x="635" y="204"/>
                </a:lnTo>
                <a:lnTo>
                  <a:pt x="635" y="182"/>
                </a:lnTo>
                <a:lnTo>
                  <a:pt x="658" y="159"/>
                </a:lnTo>
                <a:lnTo>
                  <a:pt x="612" y="136"/>
                </a:lnTo>
                <a:lnTo>
                  <a:pt x="612" y="91"/>
                </a:lnTo>
                <a:lnTo>
                  <a:pt x="567" y="68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7" name="Freeform 19"/>
          <p:cNvSpPr>
            <a:spLocks/>
          </p:cNvSpPr>
          <p:nvPr/>
        </p:nvSpPr>
        <p:spPr bwMode="auto">
          <a:xfrm>
            <a:off x="3921017" y="5289550"/>
            <a:ext cx="431815" cy="150812"/>
          </a:xfrm>
          <a:custGeom>
            <a:avLst/>
            <a:gdLst>
              <a:gd name="T0" fmla="*/ 0 w 317"/>
              <a:gd name="T1" fmla="*/ 64 h 136"/>
              <a:gd name="T2" fmla="*/ 15 w 317"/>
              <a:gd name="T3" fmla="*/ 95 h 136"/>
              <a:gd name="T4" fmla="*/ 47 w 317"/>
              <a:gd name="T5" fmla="*/ 64 h 136"/>
              <a:gd name="T6" fmla="*/ 95 w 317"/>
              <a:gd name="T7" fmla="*/ 95 h 136"/>
              <a:gd name="T8" fmla="*/ 142 w 317"/>
              <a:gd name="T9" fmla="*/ 80 h 136"/>
              <a:gd name="T10" fmla="*/ 174 w 317"/>
              <a:gd name="T11" fmla="*/ 80 h 136"/>
              <a:gd name="T12" fmla="*/ 206 w 317"/>
              <a:gd name="T13" fmla="*/ 95 h 136"/>
              <a:gd name="T14" fmla="*/ 221 w 317"/>
              <a:gd name="T15" fmla="*/ 80 h 136"/>
              <a:gd name="T16" fmla="*/ 190 w 317"/>
              <a:gd name="T17" fmla="*/ 64 h 136"/>
              <a:gd name="T18" fmla="*/ 158 w 317"/>
              <a:gd name="T19" fmla="*/ 32 h 136"/>
              <a:gd name="T20" fmla="*/ 142 w 317"/>
              <a:gd name="T21" fmla="*/ 0 h 136"/>
              <a:gd name="T22" fmla="*/ 126 w 317"/>
              <a:gd name="T23" fmla="*/ 16 h 136"/>
              <a:gd name="T24" fmla="*/ 95 w 317"/>
              <a:gd name="T25" fmla="*/ 0 h 136"/>
              <a:gd name="T26" fmla="*/ 46 w 317"/>
              <a:gd name="T27" fmla="*/ 13 h 136"/>
              <a:gd name="T28" fmla="*/ 33 w 317"/>
              <a:gd name="T29" fmla="*/ 25 h 136"/>
              <a:gd name="T30" fmla="*/ 8 w 317"/>
              <a:gd name="T31" fmla="*/ 12 h 136"/>
              <a:gd name="T32" fmla="*/ 14 w 317"/>
              <a:gd name="T33" fmla="*/ 35 h 136"/>
              <a:gd name="T34" fmla="*/ 0 w 317"/>
              <a:gd name="T35" fmla="*/ 64 h 1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17" h="136">
                <a:moveTo>
                  <a:pt x="0" y="91"/>
                </a:moveTo>
                <a:lnTo>
                  <a:pt x="22" y="136"/>
                </a:lnTo>
                <a:lnTo>
                  <a:pt x="68" y="91"/>
                </a:lnTo>
                <a:lnTo>
                  <a:pt x="136" y="136"/>
                </a:lnTo>
                <a:lnTo>
                  <a:pt x="204" y="114"/>
                </a:lnTo>
                <a:lnTo>
                  <a:pt x="249" y="114"/>
                </a:lnTo>
                <a:lnTo>
                  <a:pt x="295" y="136"/>
                </a:lnTo>
                <a:lnTo>
                  <a:pt x="317" y="114"/>
                </a:lnTo>
                <a:lnTo>
                  <a:pt x="272" y="91"/>
                </a:lnTo>
                <a:lnTo>
                  <a:pt x="227" y="46"/>
                </a:lnTo>
                <a:lnTo>
                  <a:pt x="204" y="0"/>
                </a:lnTo>
                <a:lnTo>
                  <a:pt x="181" y="23"/>
                </a:lnTo>
                <a:lnTo>
                  <a:pt x="136" y="0"/>
                </a:lnTo>
                <a:lnTo>
                  <a:pt x="66" y="18"/>
                </a:lnTo>
                <a:lnTo>
                  <a:pt x="48" y="36"/>
                </a:lnTo>
                <a:lnTo>
                  <a:pt x="11" y="17"/>
                </a:lnTo>
                <a:lnTo>
                  <a:pt x="20" y="50"/>
                </a:lnTo>
                <a:lnTo>
                  <a:pt x="0" y="91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8" name="Freeform 20"/>
          <p:cNvSpPr>
            <a:spLocks/>
          </p:cNvSpPr>
          <p:nvPr/>
        </p:nvSpPr>
        <p:spPr bwMode="auto">
          <a:xfrm>
            <a:off x="3889750" y="5389618"/>
            <a:ext cx="525603" cy="327025"/>
          </a:xfrm>
          <a:custGeom>
            <a:avLst/>
            <a:gdLst>
              <a:gd name="T0" fmla="*/ 237 w 386"/>
              <a:gd name="T1" fmla="*/ 16 h 295"/>
              <a:gd name="T2" fmla="*/ 222 w 386"/>
              <a:gd name="T3" fmla="*/ 31 h 295"/>
              <a:gd name="T4" fmla="*/ 190 w 386"/>
              <a:gd name="T5" fmla="*/ 16 h 295"/>
              <a:gd name="T6" fmla="*/ 158 w 386"/>
              <a:gd name="T7" fmla="*/ 16 h 295"/>
              <a:gd name="T8" fmla="*/ 111 w 386"/>
              <a:gd name="T9" fmla="*/ 31 h 295"/>
              <a:gd name="T10" fmla="*/ 63 w 386"/>
              <a:gd name="T11" fmla="*/ 0 h 295"/>
              <a:gd name="T12" fmla="*/ 0 w 386"/>
              <a:gd name="T13" fmla="*/ 64 h 295"/>
              <a:gd name="T14" fmla="*/ 16 w 386"/>
              <a:gd name="T15" fmla="*/ 79 h 295"/>
              <a:gd name="T16" fmla="*/ 47 w 386"/>
              <a:gd name="T17" fmla="*/ 79 h 295"/>
              <a:gd name="T18" fmla="*/ 63 w 386"/>
              <a:gd name="T19" fmla="*/ 95 h 295"/>
              <a:gd name="T20" fmla="*/ 95 w 386"/>
              <a:gd name="T21" fmla="*/ 111 h 295"/>
              <a:gd name="T22" fmla="*/ 95 w 386"/>
              <a:gd name="T23" fmla="*/ 142 h 295"/>
              <a:gd name="T24" fmla="*/ 127 w 386"/>
              <a:gd name="T25" fmla="*/ 159 h 295"/>
              <a:gd name="T26" fmla="*/ 111 w 386"/>
              <a:gd name="T27" fmla="*/ 175 h 295"/>
              <a:gd name="T28" fmla="*/ 111 w 386"/>
              <a:gd name="T29" fmla="*/ 190 h 295"/>
              <a:gd name="T30" fmla="*/ 142 w 386"/>
              <a:gd name="T31" fmla="*/ 206 h 295"/>
              <a:gd name="T32" fmla="*/ 158 w 386"/>
              <a:gd name="T33" fmla="*/ 190 h 295"/>
              <a:gd name="T34" fmla="*/ 174 w 386"/>
              <a:gd name="T35" fmla="*/ 175 h 295"/>
              <a:gd name="T36" fmla="*/ 206 w 386"/>
              <a:gd name="T37" fmla="*/ 175 h 295"/>
              <a:gd name="T38" fmla="*/ 237 w 386"/>
              <a:gd name="T39" fmla="*/ 142 h 295"/>
              <a:gd name="T40" fmla="*/ 253 w 386"/>
              <a:gd name="T41" fmla="*/ 142 h 295"/>
              <a:gd name="T42" fmla="*/ 253 w 386"/>
              <a:gd name="T43" fmla="*/ 126 h 295"/>
              <a:gd name="T44" fmla="*/ 269 w 386"/>
              <a:gd name="T45" fmla="*/ 111 h 295"/>
              <a:gd name="T46" fmla="*/ 237 w 386"/>
              <a:gd name="T47" fmla="*/ 79 h 295"/>
              <a:gd name="T48" fmla="*/ 253 w 386"/>
              <a:gd name="T49" fmla="*/ 47 h 295"/>
              <a:gd name="T50" fmla="*/ 269 w 386"/>
              <a:gd name="T51" fmla="*/ 31 h 295"/>
              <a:gd name="T52" fmla="*/ 253 w 386"/>
              <a:gd name="T53" fmla="*/ 16 h 295"/>
              <a:gd name="T54" fmla="*/ 237 w 386"/>
              <a:gd name="T55" fmla="*/ 16 h 295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386" h="295">
                <a:moveTo>
                  <a:pt x="340" y="23"/>
                </a:moveTo>
                <a:lnTo>
                  <a:pt x="318" y="45"/>
                </a:lnTo>
                <a:lnTo>
                  <a:pt x="272" y="23"/>
                </a:lnTo>
                <a:lnTo>
                  <a:pt x="227" y="23"/>
                </a:lnTo>
                <a:lnTo>
                  <a:pt x="159" y="45"/>
                </a:lnTo>
                <a:lnTo>
                  <a:pt x="91" y="0"/>
                </a:lnTo>
                <a:lnTo>
                  <a:pt x="0" y="91"/>
                </a:lnTo>
                <a:lnTo>
                  <a:pt x="23" y="113"/>
                </a:lnTo>
                <a:lnTo>
                  <a:pt x="68" y="113"/>
                </a:lnTo>
                <a:lnTo>
                  <a:pt x="91" y="136"/>
                </a:lnTo>
                <a:lnTo>
                  <a:pt x="136" y="159"/>
                </a:lnTo>
                <a:lnTo>
                  <a:pt x="136" y="204"/>
                </a:lnTo>
                <a:lnTo>
                  <a:pt x="182" y="227"/>
                </a:lnTo>
                <a:lnTo>
                  <a:pt x="159" y="250"/>
                </a:lnTo>
                <a:lnTo>
                  <a:pt x="159" y="272"/>
                </a:lnTo>
                <a:lnTo>
                  <a:pt x="204" y="295"/>
                </a:lnTo>
                <a:lnTo>
                  <a:pt x="227" y="272"/>
                </a:lnTo>
                <a:lnTo>
                  <a:pt x="250" y="250"/>
                </a:lnTo>
                <a:lnTo>
                  <a:pt x="295" y="250"/>
                </a:lnTo>
                <a:lnTo>
                  <a:pt x="340" y="204"/>
                </a:lnTo>
                <a:lnTo>
                  <a:pt x="363" y="204"/>
                </a:lnTo>
                <a:lnTo>
                  <a:pt x="363" y="181"/>
                </a:lnTo>
                <a:lnTo>
                  <a:pt x="386" y="159"/>
                </a:lnTo>
                <a:lnTo>
                  <a:pt x="340" y="113"/>
                </a:lnTo>
                <a:lnTo>
                  <a:pt x="363" y="68"/>
                </a:lnTo>
                <a:lnTo>
                  <a:pt x="386" y="45"/>
                </a:lnTo>
                <a:lnTo>
                  <a:pt x="363" y="23"/>
                </a:lnTo>
                <a:lnTo>
                  <a:pt x="340" y="23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09" name="Freeform 21"/>
          <p:cNvSpPr>
            <a:spLocks/>
          </p:cNvSpPr>
          <p:nvPr/>
        </p:nvSpPr>
        <p:spPr bwMode="auto">
          <a:xfrm>
            <a:off x="4446614" y="5289550"/>
            <a:ext cx="214931" cy="176212"/>
          </a:xfrm>
          <a:custGeom>
            <a:avLst/>
            <a:gdLst>
              <a:gd name="T0" fmla="*/ 110 w 159"/>
              <a:gd name="T1" fmla="*/ 0 h 159"/>
              <a:gd name="T2" fmla="*/ 63 w 159"/>
              <a:gd name="T3" fmla="*/ 16 h 159"/>
              <a:gd name="T4" fmla="*/ 16 w 159"/>
              <a:gd name="T5" fmla="*/ 64 h 159"/>
              <a:gd name="T6" fmla="*/ 0 w 159"/>
              <a:gd name="T7" fmla="*/ 64 h 159"/>
              <a:gd name="T8" fmla="*/ 16 w 159"/>
              <a:gd name="T9" fmla="*/ 95 h 159"/>
              <a:gd name="T10" fmla="*/ 32 w 159"/>
              <a:gd name="T11" fmla="*/ 111 h 159"/>
              <a:gd name="T12" fmla="*/ 47 w 159"/>
              <a:gd name="T13" fmla="*/ 95 h 159"/>
              <a:gd name="T14" fmla="*/ 63 w 159"/>
              <a:gd name="T15" fmla="*/ 95 h 159"/>
              <a:gd name="T16" fmla="*/ 79 w 159"/>
              <a:gd name="T17" fmla="*/ 80 h 159"/>
              <a:gd name="T18" fmla="*/ 63 w 159"/>
              <a:gd name="T19" fmla="*/ 64 h 159"/>
              <a:gd name="T20" fmla="*/ 79 w 159"/>
              <a:gd name="T21" fmla="*/ 32 h 159"/>
              <a:gd name="T22" fmla="*/ 110 w 159"/>
              <a:gd name="T23" fmla="*/ 16 h 159"/>
              <a:gd name="T24" fmla="*/ 110 w 159"/>
              <a:gd name="T25" fmla="*/ 0 h 15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59" h="159">
                <a:moveTo>
                  <a:pt x="159" y="0"/>
                </a:moveTo>
                <a:lnTo>
                  <a:pt x="91" y="23"/>
                </a:lnTo>
                <a:lnTo>
                  <a:pt x="23" y="91"/>
                </a:lnTo>
                <a:lnTo>
                  <a:pt x="0" y="91"/>
                </a:lnTo>
                <a:lnTo>
                  <a:pt x="23" y="136"/>
                </a:lnTo>
                <a:lnTo>
                  <a:pt x="46" y="159"/>
                </a:lnTo>
                <a:lnTo>
                  <a:pt x="68" y="136"/>
                </a:lnTo>
                <a:lnTo>
                  <a:pt x="91" y="136"/>
                </a:lnTo>
                <a:lnTo>
                  <a:pt x="114" y="114"/>
                </a:lnTo>
                <a:lnTo>
                  <a:pt x="91" y="91"/>
                </a:lnTo>
                <a:lnTo>
                  <a:pt x="114" y="46"/>
                </a:lnTo>
                <a:lnTo>
                  <a:pt x="159" y="23"/>
                </a:lnTo>
                <a:lnTo>
                  <a:pt x="159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0" name="Freeform 22"/>
          <p:cNvSpPr>
            <a:spLocks/>
          </p:cNvSpPr>
          <p:nvPr/>
        </p:nvSpPr>
        <p:spPr bwMode="auto">
          <a:xfrm>
            <a:off x="2594305" y="4913368"/>
            <a:ext cx="642837" cy="427037"/>
          </a:xfrm>
          <a:custGeom>
            <a:avLst/>
            <a:gdLst>
              <a:gd name="T0" fmla="*/ 235 w 476"/>
              <a:gd name="T1" fmla="*/ 0 h 386"/>
              <a:gd name="T2" fmla="*/ 219 w 476"/>
              <a:gd name="T3" fmla="*/ 0 h 386"/>
              <a:gd name="T4" fmla="*/ 203 w 476"/>
              <a:gd name="T5" fmla="*/ 32 h 386"/>
              <a:gd name="T6" fmla="*/ 172 w 476"/>
              <a:gd name="T7" fmla="*/ 32 h 386"/>
              <a:gd name="T8" fmla="*/ 156 w 476"/>
              <a:gd name="T9" fmla="*/ 63 h 386"/>
              <a:gd name="T10" fmla="*/ 94 w 476"/>
              <a:gd name="T11" fmla="*/ 63 h 386"/>
              <a:gd name="T12" fmla="*/ 62 w 476"/>
              <a:gd name="T13" fmla="*/ 32 h 386"/>
              <a:gd name="T14" fmla="*/ 47 w 476"/>
              <a:gd name="T15" fmla="*/ 47 h 386"/>
              <a:gd name="T16" fmla="*/ 15 w 476"/>
              <a:gd name="T17" fmla="*/ 47 h 386"/>
              <a:gd name="T18" fmla="*/ 15 w 476"/>
              <a:gd name="T19" fmla="*/ 63 h 386"/>
              <a:gd name="T20" fmla="*/ 15 w 476"/>
              <a:gd name="T21" fmla="*/ 95 h 386"/>
              <a:gd name="T22" fmla="*/ 0 w 476"/>
              <a:gd name="T23" fmla="*/ 111 h 386"/>
              <a:gd name="T24" fmla="*/ 0 w 476"/>
              <a:gd name="T25" fmla="*/ 158 h 386"/>
              <a:gd name="T26" fmla="*/ 31 w 476"/>
              <a:gd name="T27" fmla="*/ 142 h 386"/>
              <a:gd name="T28" fmla="*/ 62 w 476"/>
              <a:gd name="T29" fmla="*/ 174 h 386"/>
              <a:gd name="T30" fmla="*/ 62 w 476"/>
              <a:gd name="T31" fmla="*/ 190 h 386"/>
              <a:gd name="T32" fmla="*/ 94 w 476"/>
              <a:gd name="T33" fmla="*/ 190 h 386"/>
              <a:gd name="T34" fmla="*/ 109 w 476"/>
              <a:gd name="T35" fmla="*/ 174 h 386"/>
              <a:gd name="T36" fmla="*/ 125 w 476"/>
              <a:gd name="T37" fmla="*/ 190 h 386"/>
              <a:gd name="T38" fmla="*/ 141 w 476"/>
              <a:gd name="T39" fmla="*/ 174 h 386"/>
              <a:gd name="T40" fmla="*/ 141 w 476"/>
              <a:gd name="T41" fmla="*/ 190 h 386"/>
              <a:gd name="T42" fmla="*/ 156 w 476"/>
              <a:gd name="T43" fmla="*/ 174 h 386"/>
              <a:gd name="T44" fmla="*/ 203 w 476"/>
              <a:gd name="T45" fmla="*/ 190 h 386"/>
              <a:gd name="T46" fmla="*/ 219 w 476"/>
              <a:gd name="T47" fmla="*/ 190 h 386"/>
              <a:gd name="T48" fmla="*/ 250 w 476"/>
              <a:gd name="T49" fmla="*/ 237 h 386"/>
              <a:gd name="T50" fmla="*/ 282 w 476"/>
              <a:gd name="T51" fmla="*/ 269 h 386"/>
              <a:gd name="T52" fmla="*/ 282 w 476"/>
              <a:gd name="T53" fmla="*/ 237 h 386"/>
              <a:gd name="T54" fmla="*/ 313 w 476"/>
              <a:gd name="T55" fmla="*/ 237 h 386"/>
              <a:gd name="T56" fmla="*/ 313 w 476"/>
              <a:gd name="T57" fmla="*/ 206 h 386"/>
              <a:gd name="T58" fmla="*/ 329 w 476"/>
              <a:gd name="T59" fmla="*/ 190 h 386"/>
              <a:gd name="T60" fmla="*/ 329 w 476"/>
              <a:gd name="T61" fmla="*/ 158 h 386"/>
              <a:gd name="T62" fmla="*/ 313 w 476"/>
              <a:gd name="T63" fmla="*/ 127 h 386"/>
              <a:gd name="T64" fmla="*/ 313 w 476"/>
              <a:gd name="T65" fmla="*/ 79 h 386"/>
              <a:gd name="T66" fmla="*/ 297 w 476"/>
              <a:gd name="T67" fmla="*/ 111 h 386"/>
              <a:gd name="T68" fmla="*/ 266 w 476"/>
              <a:gd name="T69" fmla="*/ 127 h 386"/>
              <a:gd name="T70" fmla="*/ 235 w 476"/>
              <a:gd name="T71" fmla="*/ 111 h 386"/>
              <a:gd name="T72" fmla="*/ 250 w 476"/>
              <a:gd name="T73" fmla="*/ 79 h 386"/>
              <a:gd name="T74" fmla="*/ 219 w 476"/>
              <a:gd name="T75" fmla="*/ 63 h 386"/>
              <a:gd name="T76" fmla="*/ 235 w 476"/>
              <a:gd name="T77" fmla="*/ 32 h 386"/>
              <a:gd name="T78" fmla="*/ 235 w 476"/>
              <a:gd name="T79" fmla="*/ 0 h 38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476" h="386">
                <a:moveTo>
                  <a:pt x="340" y="0"/>
                </a:moveTo>
                <a:lnTo>
                  <a:pt x="317" y="0"/>
                </a:lnTo>
                <a:lnTo>
                  <a:pt x="294" y="46"/>
                </a:lnTo>
                <a:lnTo>
                  <a:pt x="249" y="46"/>
                </a:lnTo>
                <a:lnTo>
                  <a:pt x="226" y="91"/>
                </a:lnTo>
                <a:lnTo>
                  <a:pt x="136" y="91"/>
                </a:lnTo>
                <a:lnTo>
                  <a:pt x="90" y="46"/>
                </a:lnTo>
                <a:lnTo>
                  <a:pt x="68" y="68"/>
                </a:lnTo>
                <a:lnTo>
                  <a:pt x="22" y="68"/>
                </a:lnTo>
                <a:lnTo>
                  <a:pt x="22" y="91"/>
                </a:lnTo>
                <a:lnTo>
                  <a:pt x="22" y="136"/>
                </a:lnTo>
                <a:lnTo>
                  <a:pt x="0" y="159"/>
                </a:lnTo>
                <a:lnTo>
                  <a:pt x="0" y="227"/>
                </a:lnTo>
                <a:lnTo>
                  <a:pt x="45" y="204"/>
                </a:lnTo>
                <a:lnTo>
                  <a:pt x="90" y="250"/>
                </a:lnTo>
                <a:lnTo>
                  <a:pt x="90" y="272"/>
                </a:lnTo>
                <a:lnTo>
                  <a:pt x="136" y="272"/>
                </a:lnTo>
                <a:lnTo>
                  <a:pt x="158" y="250"/>
                </a:lnTo>
                <a:lnTo>
                  <a:pt x="181" y="272"/>
                </a:lnTo>
                <a:lnTo>
                  <a:pt x="204" y="250"/>
                </a:lnTo>
                <a:lnTo>
                  <a:pt x="204" y="272"/>
                </a:lnTo>
                <a:lnTo>
                  <a:pt x="226" y="250"/>
                </a:lnTo>
                <a:lnTo>
                  <a:pt x="294" y="272"/>
                </a:lnTo>
                <a:lnTo>
                  <a:pt x="317" y="272"/>
                </a:lnTo>
                <a:lnTo>
                  <a:pt x="362" y="340"/>
                </a:lnTo>
                <a:lnTo>
                  <a:pt x="408" y="386"/>
                </a:lnTo>
                <a:lnTo>
                  <a:pt x="408" y="340"/>
                </a:lnTo>
                <a:lnTo>
                  <a:pt x="453" y="340"/>
                </a:lnTo>
                <a:lnTo>
                  <a:pt x="453" y="295"/>
                </a:lnTo>
                <a:lnTo>
                  <a:pt x="476" y="272"/>
                </a:lnTo>
                <a:lnTo>
                  <a:pt x="476" y="227"/>
                </a:lnTo>
                <a:lnTo>
                  <a:pt x="453" y="182"/>
                </a:lnTo>
                <a:lnTo>
                  <a:pt x="453" y="114"/>
                </a:lnTo>
                <a:lnTo>
                  <a:pt x="430" y="159"/>
                </a:lnTo>
                <a:lnTo>
                  <a:pt x="385" y="182"/>
                </a:lnTo>
                <a:lnTo>
                  <a:pt x="340" y="159"/>
                </a:lnTo>
                <a:lnTo>
                  <a:pt x="362" y="114"/>
                </a:lnTo>
                <a:lnTo>
                  <a:pt x="317" y="91"/>
                </a:lnTo>
                <a:lnTo>
                  <a:pt x="340" y="46"/>
                </a:lnTo>
                <a:lnTo>
                  <a:pt x="340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1" name="Freeform 23"/>
          <p:cNvSpPr>
            <a:spLocks/>
          </p:cNvSpPr>
          <p:nvPr/>
        </p:nvSpPr>
        <p:spPr bwMode="auto">
          <a:xfrm>
            <a:off x="3026118" y="4611743"/>
            <a:ext cx="957416" cy="503237"/>
          </a:xfrm>
          <a:custGeom>
            <a:avLst/>
            <a:gdLst>
              <a:gd name="T0" fmla="*/ 16 w 703"/>
              <a:gd name="T1" fmla="*/ 190 h 454"/>
              <a:gd name="T2" fmla="*/ 16 w 703"/>
              <a:gd name="T3" fmla="*/ 222 h 454"/>
              <a:gd name="T4" fmla="*/ 0 w 703"/>
              <a:gd name="T5" fmla="*/ 253 h 454"/>
              <a:gd name="T6" fmla="*/ 31 w 703"/>
              <a:gd name="T7" fmla="*/ 270 h 454"/>
              <a:gd name="T8" fmla="*/ 16 w 703"/>
              <a:gd name="T9" fmla="*/ 301 h 454"/>
              <a:gd name="T10" fmla="*/ 47 w 703"/>
              <a:gd name="T11" fmla="*/ 317 h 454"/>
              <a:gd name="T12" fmla="*/ 79 w 703"/>
              <a:gd name="T13" fmla="*/ 301 h 454"/>
              <a:gd name="T14" fmla="*/ 95 w 703"/>
              <a:gd name="T15" fmla="*/ 270 h 454"/>
              <a:gd name="T16" fmla="*/ 127 w 703"/>
              <a:gd name="T17" fmla="*/ 222 h 454"/>
              <a:gd name="T18" fmla="*/ 142 w 703"/>
              <a:gd name="T19" fmla="*/ 206 h 454"/>
              <a:gd name="T20" fmla="*/ 190 w 703"/>
              <a:gd name="T21" fmla="*/ 190 h 454"/>
              <a:gd name="T22" fmla="*/ 237 w 703"/>
              <a:gd name="T23" fmla="*/ 190 h 454"/>
              <a:gd name="T24" fmla="*/ 284 w 703"/>
              <a:gd name="T25" fmla="*/ 206 h 454"/>
              <a:gd name="T26" fmla="*/ 284 w 703"/>
              <a:gd name="T27" fmla="*/ 190 h 454"/>
              <a:gd name="T28" fmla="*/ 284 w 703"/>
              <a:gd name="T29" fmla="*/ 174 h 454"/>
              <a:gd name="T30" fmla="*/ 316 w 703"/>
              <a:gd name="T31" fmla="*/ 159 h 454"/>
              <a:gd name="T32" fmla="*/ 348 w 703"/>
              <a:gd name="T33" fmla="*/ 126 h 454"/>
              <a:gd name="T34" fmla="*/ 395 w 703"/>
              <a:gd name="T35" fmla="*/ 159 h 454"/>
              <a:gd name="T36" fmla="*/ 411 w 703"/>
              <a:gd name="T37" fmla="*/ 159 h 454"/>
              <a:gd name="T38" fmla="*/ 427 w 703"/>
              <a:gd name="T39" fmla="*/ 111 h 454"/>
              <a:gd name="T40" fmla="*/ 474 w 703"/>
              <a:gd name="T41" fmla="*/ 111 h 454"/>
              <a:gd name="T42" fmla="*/ 490 w 703"/>
              <a:gd name="T43" fmla="*/ 64 h 454"/>
              <a:gd name="T44" fmla="*/ 443 w 703"/>
              <a:gd name="T45" fmla="*/ 47 h 454"/>
              <a:gd name="T46" fmla="*/ 443 w 703"/>
              <a:gd name="T47" fmla="*/ 16 h 454"/>
              <a:gd name="T48" fmla="*/ 474 w 703"/>
              <a:gd name="T49" fmla="*/ 16 h 454"/>
              <a:gd name="T50" fmla="*/ 443 w 703"/>
              <a:gd name="T51" fmla="*/ 0 h 454"/>
              <a:gd name="T52" fmla="*/ 411 w 703"/>
              <a:gd name="T53" fmla="*/ 16 h 454"/>
              <a:gd name="T54" fmla="*/ 364 w 703"/>
              <a:gd name="T55" fmla="*/ 0 h 454"/>
              <a:gd name="T56" fmla="*/ 348 w 703"/>
              <a:gd name="T57" fmla="*/ 16 h 454"/>
              <a:gd name="T58" fmla="*/ 316 w 703"/>
              <a:gd name="T59" fmla="*/ 16 h 454"/>
              <a:gd name="T60" fmla="*/ 332 w 703"/>
              <a:gd name="T61" fmla="*/ 31 h 454"/>
              <a:gd name="T62" fmla="*/ 316 w 703"/>
              <a:gd name="T63" fmla="*/ 64 h 454"/>
              <a:gd name="T64" fmla="*/ 253 w 703"/>
              <a:gd name="T65" fmla="*/ 79 h 454"/>
              <a:gd name="T66" fmla="*/ 190 w 703"/>
              <a:gd name="T67" fmla="*/ 111 h 454"/>
              <a:gd name="T68" fmla="*/ 111 w 703"/>
              <a:gd name="T69" fmla="*/ 159 h 454"/>
              <a:gd name="T70" fmla="*/ 79 w 703"/>
              <a:gd name="T71" fmla="*/ 174 h 454"/>
              <a:gd name="T72" fmla="*/ 63 w 703"/>
              <a:gd name="T73" fmla="*/ 190 h 454"/>
              <a:gd name="T74" fmla="*/ 16 w 703"/>
              <a:gd name="T75" fmla="*/ 190 h 45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03" h="454">
                <a:moveTo>
                  <a:pt x="23" y="272"/>
                </a:moveTo>
                <a:lnTo>
                  <a:pt x="23" y="318"/>
                </a:lnTo>
                <a:lnTo>
                  <a:pt x="0" y="363"/>
                </a:lnTo>
                <a:lnTo>
                  <a:pt x="45" y="386"/>
                </a:lnTo>
                <a:lnTo>
                  <a:pt x="23" y="431"/>
                </a:lnTo>
                <a:lnTo>
                  <a:pt x="68" y="454"/>
                </a:lnTo>
                <a:lnTo>
                  <a:pt x="113" y="431"/>
                </a:lnTo>
                <a:lnTo>
                  <a:pt x="136" y="386"/>
                </a:lnTo>
                <a:lnTo>
                  <a:pt x="182" y="318"/>
                </a:lnTo>
                <a:lnTo>
                  <a:pt x="204" y="295"/>
                </a:lnTo>
                <a:lnTo>
                  <a:pt x="272" y="272"/>
                </a:lnTo>
                <a:lnTo>
                  <a:pt x="340" y="272"/>
                </a:lnTo>
                <a:lnTo>
                  <a:pt x="408" y="295"/>
                </a:lnTo>
                <a:lnTo>
                  <a:pt x="408" y="272"/>
                </a:lnTo>
                <a:lnTo>
                  <a:pt x="408" y="249"/>
                </a:lnTo>
                <a:lnTo>
                  <a:pt x="454" y="227"/>
                </a:lnTo>
                <a:lnTo>
                  <a:pt x="499" y="181"/>
                </a:lnTo>
                <a:lnTo>
                  <a:pt x="567" y="227"/>
                </a:lnTo>
                <a:lnTo>
                  <a:pt x="590" y="227"/>
                </a:lnTo>
                <a:lnTo>
                  <a:pt x="612" y="159"/>
                </a:lnTo>
                <a:lnTo>
                  <a:pt x="680" y="159"/>
                </a:lnTo>
                <a:lnTo>
                  <a:pt x="703" y="91"/>
                </a:lnTo>
                <a:lnTo>
                  <a:pt x="635" y="68"/>
                </a:lnTo>
                <a:lnTo>
                  <a:pt x="635" y="23"/>
                </a:lnTo>
                <a:lnTo>
                  <a:pt x="680" y="23"/>
                </a:lnTo>
                <a:lnTo>
                  <a:pt x="635" y="0"/>
                </a:lnTo>
                <a:lnTo>
                  <a:pt x="590" y="23"/>
                </a:lnTo>
                <a:lnTo>
                  <a:pt x="522" y="0"/>
                </a:lnTo>
                <a:lnTo>
                  <a:pt x="499" y="23"/>
                </a:lnTo>
                <a:lnTo>
                  <a:pt x="454" y="23"/>
                </a:lnTo>
                <a:lnTo>
                  <a:pt x="476" y="45"/>
                </a:lnTo>
                <a:lnTo>
                  <a:pt x="454" y="91"/>
                </a:lnTo>
                <a:lnTo>
                  <a:pt x="363" y="113"/>
                </a:lnTo>
                <a:lnTo>
                  <a:pt x="272" y="159"/>
                </a:lnTo>
                <a:lnTo>
                  <a:pt x="159" y="227"/>
                </a:lnTo>
                <a:lnTo>
                  <a:pt x="113" y="249"/>
                </a:lnTo>
                <a:lnTo>
                  <a:pt x="91" y="272"/>
                </a:lnTo>
                <a:lnTo>
                  <a:pt x="23" y="272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2" name="Freeform 24"/>
          <p:cNvSpPr>
            <a:spLocks/>
          </p:cNvSpPr>
          <p:nvPr/>
        </p:nvSpPr>
        <p:spPr bwMode="auto">
          <a:xfrm>
            <a:off x="1634933" y="4337105"/>
            <a:ext cx="433768" cy="250825"/>
          </a:xfrm>
          <a:custGeom>
            <a:avLst/>
            <a:gdLst>
              <a:gd name="T0" fmla="*/ 143 w 318"/>
              <a:gd name="T1" fmla="*/ 0 h 227"/>
              <a:gd name="T2" fmla="*/ 111 w 318"/>
              <a:gd name="T3" fmla="*/ 32 h 227"/>
              <a:gd name="T4" fmla="*/ 64 w 318"/>
              <a:gd name="T5" fmla="*/ 79 h 227"/>
              <a:gd name="T6" fmla="*/ 16 w 318"/>
              <a:gd name="T7" fmla="*/ 111 h 227"/>
              <a:gd name="T8" fmla="*/ 0 w 318"/>
              <a:gd name="T9" fmla="*/ 127 h 227"/>
              <a:gd name="T10" fmla="*/ 32 w 318"/>
              <a:gd name="T11" fmla="*/ 158 h 227"/>
              <a:gd name="T12" fmla="*/ 48 w 318"/>
              <a:gd name="T13" fmla="*/ 111 h 227"/>
              <a:gd name="T14" fmla="*/ 80 w 318"/>
              <a:gd name="T15" fmla="*/ 95 h 227"/>
              <a:gd name="T16" fmla="*/ 143 w 318"/>
              <a:gd name="T17" fmla="*/ 47 h 227"/>
              <a:gd name="T18" fmla="*/ 175 w 318"/>
              <a:gd name="T19" fmla="*/ 47 h 227"/>
              <a:gd name="T20" fmla="*/ 222 w 318"/>
              <a:gd name="T21" fmla="*/ 32 h 227"/>
              <a:gd name="T22" fmla="*/ 175 w 318"/>
              <a:gd name="T23" fmla="*/ 32 h 227"/>
              <a:gd name="T24" fmla="*/ 143 w 318"/>
              <a:gd name="T25" fmla="*/ 0 h 22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18" h="227">
                <a:moveTo>
                  <a:pt x="205" y="0"/>
                </a:moveTo>
                <a:lnTo>
                  <a:pt x="159" y="46"/>
                </a:lnTo>
                <a:lnTo>
                  <a:pt x="91" y="114"/>
                </a:lnTo>
                <a:lnTo>
                  <a:pt x="23" y="159"/>
                </a:lnTo>
                <a:lnTo>
                  <a:pt x="0" y="182"/>
                </a:lnTo>
                <a:lnTo>
                  <a:pt x="46" y="227"/>
                </a:lnTo>
                <a:lnTo>
                  <a:pt x="69" y="159"/>
                </a:lnTo>
                <a:lnTo>
                  <a:pt x="114" y="136"/>
                </a:lnTo>
                <a:lnTo>
                  <a:pt x="205" y="68"/>
                </a:lnTo>
                <a:lnTo>
                  <a:pt x="250" y="68"/>
                </a:lnTo>
                <a:lnTo>
                  <a:pt x="318" y="46"/>
                </a:lnTo>
                <a:lnTo>
                  <a:pt x="250" y="46"/>
                </a:lnTo>
                <a:lnTo>
                  <a:pt x="205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3" name="Freeform 25"/>
          <p:cNvSpPr>
            <a:spLocks/>
          </p:cNvSpPr>
          <p:nvPr/>
        </p:nvSpPr>
        <p:spPr bwMode="auto">
          <a:xfrm>
            <a:off x="2129310" y="4137080"/>
            <a:ext cx="652607" cy="274637"/>
          </a:xfrm>
          <a:custGeom>
            <a:avLst/>
            <a:gdLst>
              <a:gd name="T0" fmla="*/ 127 w 477"/>
              <a:gd name="T1" fmla="*/ 63 h 249"/>
              <a:gd name="T2" fmla="*/ 111 w 477"/>
              <a:gd name="T3" fmla="*/ 79 h 249"/>
              <a:gd name="T4" fmla="*/ 48 w 477"/>
              <a:gd name="T5" fmla="*/ 110 h 249"/>
              <a:gd name="T6" fmla="*/ 64 w 477"/>
              <a:gd name="T7" fmla="*/ 126 h 249"/>
              <a:gd name="T8" fmla="*/ 32 w 477"/>
              <a:gd name="T9" fmla="*/ 126 h 249"/>
              <a:gd name="T10" fmla="*/ 0 w 477"/>
              <a:gd name="T11" fmla="*/ 158 h 249"/>
              <a:gd name="T12" fmla="*/ 16 w 477"/>
              <a:gd name="T13" fmla="*/ 173 h 249"/>
              <a:gd name="T14" fmla="*/ 32 w 477"/>
              <a:gd name="T15" fmla="*/ 158 h 249"/>
              <a:gd name="T16" fmla="*/ 64 w 477"/>
              <a:gd name="T17" fmla="*/ 158 h 249"/>
              <a:gd name="T18" fmla="*/ 95 w 477"/>
              <a:gd name="T19" fmla="*/ 110 h 249"/>
              <a:gd name="T20" fmla="*/ 127 w 477"/>
              <a:gd name="T21" fmla="*/ 110 h 249"/>
              <a:gd name="T22" fmla="*/ 143 w 477"/>
              <a:gd name="T23" fmla="*/ 79 h 249"/>
              <a:gd name="T24" fmla="*/ 159 w 477"/>
              <a:gd name="T25" fmla="*/ 94 h 249"/>
              <a:gd name="T26" fmla="*/ 223 w 477"/>
              <a:gd name="T27" fmla="*/ 63 h 249"/>
              <a:gd name="T28" fmla="*/ 286 w 477"/>
              <a:gd name="T29" fmla="*/ 47 h 249"/>
              <a:gd name="T30" fmla="*/ 318 w 477"/>
              <a:gd name="T31" fmla="*/ 47 h 249"/>
              <a:gd name="T32" fmla="*/ 318 w 477"/>
              <a:gd name="T33" fmla="*/ 31 h 249"/>
              <a:gd name="T34" fmla="*/ 334 w 477"/>
              <a:gd name="T35" fmla="*/ 16 h 249"/>
              <a:gd name="T36" fmla="*/ 302 w 477"/>
              <a:gd name="T37" fmla="*/ 0 h 249"/>
              <a:gd name="T38" fmla="*/ 270 w 477"/>
              <a:gd name="T39" fmla="*/ 31 h 249"/>
              <a:gd name="T40" fmla="*/ 223 w 477"/>
              <a:gd name="T41" fmla="*/ 47 h 249"/>
              <a:gd name="T42" fmla="*/ 207 w 477"/>
              <a:gd name="T43" fmla="*/ 47 h 249"/>
              <a:gd name="T44" fmla="*/ 191 w 477"/>
              <a:gd name="T45" fmla="*/ 31 h 249"/>
              <a:gd name="T46" fmla="*/ 191 w 477"/>
              <a:gd name="T47" fmla="*/ 0 h 249"/>
              <a:gd name="T48" fmla="*/ 175 w 477"/>
              <a:gd name="T49" fmla="*/ 16 h 249"/>
              <a:gd name="T50" fmla="*/ 175 w 477"/>
              <a:gd name="T51" fmla="*/ 47 h 249"/>
              <a:gd name="T52" fmla="*/ 159 w 477"/>
              <a:gd name="T53" fmla="*/ 47 h 249"/>
              <a:gd name="T54" fmla="*/ 143 w 477"/>
              <a:gd name="T55" fmla="*/ 63 h 249"/>
              <a:gd name="T56" fmla="*/ 127 w 477"/>
              <a:gd name="T57" fmla="*/ 63 h 2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477" h="249">
                <a:moveTo>
                  <a:pt x="182" y="91"/>
                </a:moveTo>
                <a:lnTo>
                  <a:pt x="159" y="113"/>
                </a:lnTo>
                <a:lnTo>
                  <a:pt x="68" y="159"/>
                </a:lnTo>
                <a:lnTo>
                  <a:pt x="91" y="181"/>
                </a:lnTo>
                <a:lnTo>
                  <a:pt x="46" y="181"/>
                </a:lnTo>
                <a:lnTo>
                  <a:pt x="0" y="227"/>
                </a:lnTo>
                <a:lnTo>
                  <a:pt x="23" y="249"/>
                </a:lnTo>
                <a:lnTo>
                  <a:pt x="46" y="227"/>
                </a:lnTo>
                <a:lnTo>
                  <a:pt x="91" y="227"/>
                </a:lnTo>
                <a:lnTo>
                  <a:pt x="136" y="159"/>
                </a:lnTo>
                <a:lnTo>
                  <a:pt x="182" y="159"/>
                </a:lnTo>
                <a:lnTo>
                  <a:pt x="204" y="113"/>
                </a:lnTo>
                <a:lnTo>
                  <a:pt x="227" y="136"/>
                </a:lnTo>
                <a:lnTo>
                  <a:pt x="318" y="91"/>
                </a:lnTo>
                <a:lnTo>
                  <a:pt x="409" y="68"/>
                </a:lnTo>
                <a:lnTo>
                  <a:pt x="454" y="68"/>
                </a:lnTo>
                <a:lnTo>
                  <a:pt x="454" y="45"/>
                </a:lnTo>
                <a:lnTo>
                  <a:pt x="477" y="23"/>
                </a:lnTo>
                <a:lnTo>
                  <a:pt x="431" y="0"/>
                </a:lnTo>
                <a:lnTo>
                  <a:pt x="386" y="45"/>
                </a:lnTo>
                <a:lnTo>
                  <a:pt x="318" y="68"/>
                </a:lnTo>
                <a:lnTo>
                  <a:pt x="295" y="68"/>
                </a:lnTo>
                <a:lnTo>
                  <a:pt x="273" y="45"/>
                </a:lnTo>
                <a:lnTo>
                  <a:pt x="273" y="0"/>
                </a:lnTo>
                <a:lnTo>
                  <a:pt x="250" y="23"/>
                </a:lnTo>
                <a:lnTo>
                  <a:pt x="250" y="68"/>
                </a:lnTo>
                <a:lnTo>
                  <a:pt x="227" y="68"/>
                </a:lnTo>
                <a:lnTo>
                  <a:pt x="204" y="91"/>
                </a:lnTo>
                <a:lnTo>
                  <a:pt x="182" y="91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4" name="Freeform 26"/>
          <p:cNvSpPr>
            <a:spLocks/>
          </p:cNvSpPr>
          <p:nvPr/>
        </p:nvSpPr>
        <p:spPr bwMode="auto">
          <a:xfrm>
            <a:off x="8213754" y="296863"/>
            <a:ext cx="3118443" cy="2081212"/>
          </a:xfrm>
          <a:custGeom>
            <a:avLst/>
            <a:gdLst>
              <a:gd name="T0" fmla="*/ 79 w 2291"/>
              <a:gd name="T1" fmla="*/ 1106 h 1882"/>
              <a:gd name="T2" fmla="*/ 16 w 2291"/>
              <a:gd name="T3" fmla="*/ 1185 h 1882"/>
              <a:gd name="T4" fmla="*/ 0 w 2291"/>
              <a:gd name="T5" fmla="*/ 1296 h 1882"/>
              <a:gd name="T6" fmla="*/ 79 w 2291"/>
              <a:gd name="T7" fmla="*/ 1264 h 1882"/>
              <a:gd name="T8" fmla="*/ 127 w 2291"/>
              <a:gd name="T9" fmla="*/ 1216 h 1882"/>
              <a:gd name="T10" fmla="*/ 189 w 2291"/>
              <a:gd name="T11" fmla="*/ 1185 h 1882"/>
              <a:gd name="T12" fmla="*/ 269 w 2291"/>
              <a:gd name="T13" fmla="*/ 1264 h 1882"/>
              <a:gd name="T14" fmla="*/ 285 w 2291"/>
              <a:gd name="T15" fmla="*/ 1185 h 1882"/>
              <a:gd name="T16" fmla="*/ 189 w 2291"/>
              <a:gd name="T17" fmla="*/ 1090 h 1882"/>
              <a:gd name="T18" fmla="*/ 127 w 2291"/>
              <a:gd name="T19" fmla="*/ 1011 h 1882"/>
              <a:gd name="T20" fmla="*/ 222 w 2291"/>
              <a:gd name="T21" fmla="*/ 917 h 1882"/>
              <a:gd name="T22" fmla="*/ 269 w 2291"/>
              <a:gd name="T23" fmla="*/ 932 h 1882"/>
              <a:gd name="T24" fmla="*/ 285 w 2291"/>
              <a:gd name="T25" fmla="*/ 964 h 1882"/>
              <a:gd name="T26" fmla="*/ 316 w 2291"/>
              <a:gd name="T27" fmla="*/ 1027 h 1882"/>
              <a:gd name="T28" fmla="*/ 395 w 2291"/>
              <a:gd name="T29" fmla="*/ 1011 h 1882"/>
              <a:gd name="T30" fmla="*/ 553 w 2291"/>
              <a:gd name="T31" fmla="*/ 995 h 1882"/>
              <a:gd name="T32" fmla="*/ 632 w 2291"/>
              <a:gd name="T33" fmla="*/ 1074 h 1882"/>
              <a:gd name="T34" fmla="*/ 759 w 2291"/>
              <a:gd name="T35" fmla="*/ 1216 h 1882"/>
              <a:gd name="T36" fmla="*/ 853 w 2291"/>
              <a:gd name="T37" fmla="*/ 1311 h 1882"/>
              <a:gd name="T38" fmla="*/ 885 w 2291"/>
              <a:gd name="T39" fmla="*/ 1201 h 1882"/>
              <a:gd name="T40" fmla="*/ 1170 w 2291"/>
              <a:gd name="T41" fmla="*/ 1027 h 1882"/>
              <a:gd name="T42" fmla="*/ 1248 w 2291"/>
              <a:gd name="T43" fmla="*/ 1059 h 1882"/>
              <a:gd name="T44" fmla="*/ 1343 w 2291"/>
              <a:gd name="T45" fmla="*/ 1043 h 1882"/>
              <a:gd name="T46" fmla="*/ 1390 w 2291"/>
              <a:gd name="T47" fmla="*/ 1074 h 1882"/>
              <a:gd name="T48" fmla="*/ 1549 w 2291"/>
              <a:gd name="T49" fmla="*/ 1043 h 1882"/>
              <a:gd name="T50" fmla="*/ 1517 w 2291"/>
              <a:gd name="T51" fmla="*/ 1011 h 1882"/>
              <a:gd name="T52" fmla="*/ 1501 w 2291"/>
              <a:gd name="T53" fmla="*/ 948 h 1882"/>
              <a:gd name="T54" fmla="*/ 1485 w 2291"/>
              <a:gd name="T55" fmla="*/ 869 h 1882"/>
              <a:gd name="T56" fmla="*/ 1565 w 2291"/>
              <a:gd name="T57" fmla="*/ 711 h 1882"/>
              <a:gd name="T58" fmla="*/ 1596 w 2291"/>
              <a:gd name="T59" fmla="*/ 664 h 1882"/>
              <a:gd name="T60" fmla="*/ 1549 w 2291"/>
              <a:gd name="T61" fmla="*/ 679 h 1882"/>
              <a:gd name="T62" fmla="*/ 1438 w 2291"/>
              <a:gd name="T63" fmla="*/ 743 h 1882"/>
              <a:gd name="T64" fmla="*/ 1312 w 2291"/>
              <a:gd name="T65" fmla="*/ 711 h 1882"/>
              <a:gd name="T66" fmla="*/ 1264 w 2291"/>
              <a:gd name="T67" fmla="*/ 679 h 1882"/>
              <a:gd name="T68" fmla="*/ 1280 w 2291"/>
              <a:gd name="T69" fmla="*/ 632 h 1882"/>
              <a:gd name="T70" fmla="*/ 1217 w 2291"/>
              <a:gd name="T71" fmla="*/ 632 h 1882"/>
              <a:gd name="T72" fmla="*/ 1170 w 2291"/>
              <a:gd name="T73" fmla="*/ 616 h 1882"/>
              <a:gd name="T74" fmla="*/ 1106 w 2291"/>
              <a:gd name="T75" fmla="*/ 506 h 1882"/>
              <a:gd name="T76" fmla="*/ 948 w 2291"/>
              <a:gd name="T77" fmla="*/ 253 h 1882"/>
              <a:gd name="T78" fmla="*/ 885 w 2291"/>
              <a:gd name="T79" fmla="*/ 79 h 1882"/>
              <a:gd name="T80" fmla="*/ 822 w 2291"/>
              <a:gd name="T81" fmla="*/ 31 h 1882"/>
              <a:gd name="T82" fmla="*/ 727 w 2291"/>
              <a:gd name="T83" fmla="*/ 79 h 1882"/>
              <a:gd name="T84" fmla="*/ 727 w 2291"/>
              <a:gd name="T85" fmla="*/ 332 h 1882"/>
              <a:gd name="T86" fmla="*/ 648 w 2291"/>
              <a:gd name="T87" fmla="*/ 506 h 1882"/>
              <a:gd name="T88" fmla="*/ 553 w 2291"/>
              <a:gd name="T89" fmla="*/ 569 h 1882"/>
              <a:gd name="T90" fmla="*/ 537 w 2291"/>
              <a:gd name="T91" fmla="*/ 632 h 1882"/>
              <a:gd name="T92" fmla="*/ 537 w 2291"/>
              <a:gd name="T93" fmla="*/ 711 h 1882"/>
              <a:gd name="T94" fmla="*/ 442 w 2291"/>
              <a:gd name="T95" fmla="*/ 790 h 1882"/>
              <a:gd name="T96" fmla="*/ 395 w 2291"/>
              <a:gd name="T97" fmla="*/ 727 h 1882"/>
              <a:gd name="T98" fmla="*/ 285 w 2291"/>
              <a:gd name="T99" fmla="*/ 664 h 1882"/>
              <a:gd name="T100" fmla="*/ 237 w 2291"/>
              <a:gd name="T101" fmla="*/ 695 h 1882"/>
              <a:gd name="T102" fmla="*/ 269 w 2291"/>
              <a:gd name="T103" fmla="*/ 790 h 1882"/>
              <a:gd name="T104" fmla="*/ 189 w 2291"/>
              <a:gd name="T105" fmla="*/ 853 h 1882"/>
              <a:gd name="T106" fmla="*/ 142 w 2291"/>
              <a:gd name="T107" fmla="*/ 853 h 1882"/>
              <a:gd name="T108" fmla="*/ 63 w 2291"/>
              <a:gd name="T109" fmla="*/ 853 h 1882"/>
              <a:gd name="T110" fmla="*/ 47 w 2291"/>
              <a:gd name="T111" fmla="*/ 917 h 1882"/>
              <a:gd name="T112" fmla="*/ 16 w 2291"/>
              <a:gd name="T113" fmla="*/ 995 h 1882"/>
              <a:gd name="T114" fmla="*/ 32 w 2291"/>
              <a:gd name="T115" fmla="*/ 1043 h 188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291" h="1882">
                <a:moveTo>
                  <a:pt x="68" y="1497"/>
                </a:moveTo>
                <a:lnTo>
                  <a:pt x="114" y="1588"/>
                </a:lnTo>
                <a:lnTo>
                  <a:pt x="91" y="1656"/>
                </a:lnTo>
                <a:lnTo>
                  <a:pt x="23" y="1701"/>
                </a:lnTo>
                <a:lnTo>
                  <a:pt x="0" y="1769"/>
                </a:lnTo>
                <a:lnTo>
                  <a:pt x="0" y="1860"/>
                </a:lnTo>
                <a:lnTo>
                  <a:pt x="46" y="1882"/>
                </a:lnTo>
                <a:lnTo>
                  <a:pt x="114" y="1814"/>
                </a:lnTo>
                <a:lnTo>
                  <a:pt x="159" y="1814"/>
                </a:lnTo>
                <a:lnTo>
                  <a:pt x="182" y="1746"/>
                </a:lnTo>
                <a:lnTo>
                  <a:pt x="227" y="1746"/>
                </a:lnTo>
                <a:lnTo>
                  <a:pt x="272" y="1701"/>
                </a:lnTo>
                <a:lnTo>
                  <a:pt x="318" y="1746"/>
                </a:lnTo>
                <a:lnTo>
                  <a:pt x="386" y="1814"/>
                </a:lnTo>
                <a:lnTo>
                  <a:pt x="454" y="1769"/>
                </a:lnTo>
                <a:lnTo>
                  <a:pt x="409" y="1701"/>
                </a:lnTo>
                <a:lnTo>
                  <a:pt x="340" y="1565"/>
                </a:lnTo>
                <a:lnTo>
                  <a:pt x="272" y="1565"/>
                </a:lnTo>
                <a:lnTo>
                  <a:pt x="227" y="1497"/>
                </a:lnTo>
                <a:lnTo>
                  <a:pt x="182" y="1452"/>
                </a:lnTo>
                <a:lnTo>
                  <a:pt x="250" y="1361"/>
                </a:lnTo>
                <a:lnTo>
                  <a:pt x="318" y="1316"/>
                </a:lnTo>
                <a:lnTo>
                  <a:pt x="340" y="1338"/>
                </a:lnTo>
                <a:lnTo>
                  <a:pt x="386" y="1338"/>
                </a:lnTo>
                <a:lnTo>
                  <a:pt x="431" y="1361"/>
                </a:lnTo>
                <a:lnTo>
                  <a:pt x="409" y="1384"/>
                </a:lnTo>
                <a:lnTo>
                  <a:pt x="454" y="1429"/>
                </a:lnTo>
                <a:lnTo>
                  <a:pt x="454" y="1474"/>
                </a:lnTo>
                <a:lnTo>
                  <a:pt x="477" y="1520"/>
                </a:lnTo>
                <a:lnTo>
                  <a:pt x="567" y="1452"/>
                </a:lnTo>
                <a:lnTo>
                  <a:pt x="681" y="1406"/>
                </a:lnTo>
                <a:lnTo>
                  <a:pt x="794" y="1429"/>
                </a:lnTo>
                <a:lnTo>
                  <a:pt x="862" y="1520"/>
                </a:lnTo>
                <a:lnTo>
                  <a:pt x="907" y="1542"/>
                </a:lnTo>
                <a:lnTo>
                  <a:pt x="975" y="1656"/>
                </a:lnTo>
                <a:lnTo>
                  <a:pt x="1089" y="1746"/>
                </a:lnTo>
                <a:lnTo>
                  <a:pt x="1202" y="1814"/>
                </a:lnTo>
                <a:lnTo>
                  <a:pt x="1225" y="1882"/>
                </a:lnTo>
                <a:lnTo>
                  <a:pt x="1293" y="1769"/>
                </a:lnTo>
                <a:lnTo>
                  <a:pt x="1270" y="1724"/>
                </a:lnTo>
                <a:lnTo>
                  <a:pt x="1452" y="1588"/>
                </a:lnTo>
                <a:lnTo>
                  <a:pt x="1679" y="1474"/>
                </a:lnTo>
                <a:lnTo>
                  <a:pt x="1769" y="1474"/>
                </a:lnTo>
                <a:lnTo>
                  <a:pt x="1792" y="1520"/>
                </a:lnTo>
                <a:lnTo>
                  <a:pt x="1905" y="1542"/>
                </a:lnTo>
                <a:lnTo>
                  <a:pt x="1928" y="1497"/>
                </a:lnTo>
                <a:lnTo>
                  <a:pt x="1996" y="1497"/>
                </a:lnTo>
                <a:lnTo>
                  <a:pt x="1996" y="1542"/>
                </a:lnTo>
                <a:lnTo>
                  <a:pt x="2087" y="1474"/>
                </a:lnTo>
                <a:lnTo>
                  <a:pt x="2223" y="1497"/>
                </a:lnTo>
                <a:lnTo>
                  <a:pt x="2246" y="1452"/>
                </a:lnTo>
                <a:lnTo>
                  <a:pt x="2178" y="1452"/>
                </a:lnTo>
                <a:lnTo>
                  <a:pt x="2109" y="1384"/>
                </a:lnTo>
                <a:lnTo>
                  <a:pt x="2155" y="1361"/>
                </a:lnTo>
                <a:lnTo>
                  <a:pt x="2178" y="1247"/>
                </a:lnTo>
                <a:lnTo>
                  <a:pt x="2132" y="1247"/>
                </a:lnTo>
                <a:lnTo>
                  <a:pt x="2132" y="1157"/>
                </a:lnTo>
                <a:lnTo>
                  <a:pt x="2246" y="1021"/>
                </a:lnTo>
                <a:lnTo>
                  <a:pt x="2246" y="998"/>
                </a:lnTo>
                <a:lnTo>
                  <a:pt x="2291" y="953"/>
                </a:lnTo>
                <a:lnTo>
                  <a:pt x="2291" y="907"/>
                </a:lnTo>
                <a:lnTo>
                  <a:pt x="2223" y="975"/>
                </a:lnTo>
                <a:lnTo>
                  <a:pt x="2155" y="998"/>
                </a:lnTo>
                <a:lnTo>
                  <a:pt x="2064" y="1066"/>
                </a:lnTo>
                <a:lnTo>
                  <a:pt x="1996" y="1066"/>
                </a:lnTo>
                <a:lnTo>
                  <a:pt x="1883" y="1021"/>
                </a:lnTo>
                <a:lnTo>
                  <a:pt x="1860" y="953"/>
                </a:lnTo>
                <a:lnTo>
                  <a:pt x="1815" y="975"/>
                </a:lnTo>
                <a:lnTo>
                  <a:pt x="1792" y="953"/>
                </a:lnTo>
                <a:lnTo>
                  <a:pt x="1837" y="907"/>
                </a:lnTo>
                <a:lnTo>
                  <a:pt x="1769" y="885"/>
                </a:lnTo>
                <a:lnTo>
                  <a:pt x="1747" y="907"/>
                </a:lnTo>
                <a:lnTo>
                  <a:pt x="1701" y="885"/>
                </a:lnTo>
                <a:lnTo>
                  <a:pt x="1679" y="885"/>
                </a:lnTo>
                <a:lnTo>
                  <a:pt x="1679" y="817"/>
                </a:lnTo>
                <a:lnTo>
                  <a:pt x="1588" y="726"/>
                </a:lnTo>
                <a:lnTo>
                  <a:pt x="1474" y="590"/>
                </a:lnTo>
                <a:lnTo>
                  <a:pt x="1361" y="363"/>
                </a:lnTo>
                <a:lnTo>
                  <a:pt x="1361" y="295"/>
                </a:lnTo>
                <a:lnTo>
                  <a:pt x="1270" y="113"/>
                </a:lnTo>
                <a:lnTo>
                  <a:pt x="1225" y="0"/>
                </a:lnTo>
                <a:lnTo>
                  <a:pt x="1180" y="45"/>
                </a:lnTo>
                <a:lnTo>
                  <a:pt x="1112" y="45"/>
                </a:lnTo>
                <a:lnTo>
                  <a:pt x="1044" y="113"/>
                </a:lnTo>
                <a:lnTo>
                  <a:pt x="1066" y="272"/>
                </a:lnTo>
                <a:lnTo>
                  <a:pt x="1044" y="476"/>
                </a:lnTo>
                <a:lnTo>
                  <a:pt x="953" y="590"/>
                </a:lnTo>
                <a:lnTo>
                  <a:pt x="930" y="726"/>
                </a:lnTo>
                <a:lnTo>
                  <a:pt x="885" y="794"/>
                </a:lnTo>
                <a:lnTo>
                  <a:pt x="794" y="817"/>
                </a:lnTo>
                <a:lnTo>
                  <a:pt x="771" y="862"/>
                </a:lnTo>
                <a:lnTo>
                  <a:pt x="771" y="907"/>
                </a:lnTo>
                <a:lnTo>
                  <a:pt x="749" y="953"/>
                </a:lnTo>
                <a:lnTo>
                  <a:pt x="771" y="1021"/>
                </a:lnTo>
                <a:lnTo>
                  <a:pt x="749" y="1066"/>
                </a:lnTo>
                <a:lnTo>
                  <a:pt x="635" y="1134"/>
                </a:lnTo>
                <a:lnTo>
                  <a:pt x="567" y="1089"/>
                </a:lnTo>
                <a:lnTo>
                  <a:pt x="567" y="1043"/>
                </a:lnTo>
                <a:lnTo>
                  <a:pt x="522" y="1066"/>
                </a:lnTo>
                <a:lnTo>
                  <a:pt x="409" y="953"/>
                </a:lnTo>
                <a:lnTo>
                  <a:pt x="363" y="953"/>
                </a:lnTo>
                <a:lnTo>
                  <a:pt x="340" y="998"/>
                </a:lnTo>
                <a:lnTo>
                  <a:pt x="386" y="1066"/>
                </a:lnTo>
                <a:lnTo>
                  <a:pt x="386" y="1134"/>
                </a:lnTo>
                <a:lnTo>
                  <a:pt x="318" y="1157"/>
                </a:lnTo>
                <a:lnTo>
                  <a:pt x="272" y="1225"/>
                </a:lnTo>
                <a:lnTo>
                  <a:pt x="250" y="1202"/>
                </a:lnTo>
                <a:lnTo>
                  <a:pt x="204" y="1225"/>
                </a:lnTo>
                <a:lnTo>
                  <a:pt x="136" y="1247"/>
                </a:lnTo>
                <a:lnTo>
                  <a:pt x="91" y="1225"/>
                </a:lnTo>
                <a:lnTo>
                  <a:pt x="68" y="1270"/>
                </a:lnTo>
                <a:lnTo>
                  <a:pt x="68" y="1316"/>
                </a:lnTo>
                <a:lnTo>
                  <a:pt x="23" y="1384"/>
                </a:lnTo>
                <a:lnTo>
                  <a:pt x="23" y="1429"/>
                </a:lnTo>
                <a:lnTo>
                  <a:pt x="46" y="1452"/>
                </a:lnTo>
                <a:lnTo>
                  <a:pt x="46" y="1497"/>
                </a:lnTo>
                <a:lnTo>
                  <a:pt x="68" y="1497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5" name="Freeform 27"/>
          <p:cNvSpPr>
            <a:spLocks/>
          </p:cNvSpPr>
          <p:nvPr/>
        </p:nvSpPr>
        <p:spPr bwMode="auto">
          <a:xfrm>
            <a:off x="6607641" y="4511675"/>
            <a:ext cx="586173" cy="476250"/>
          </a:xfrm>
          <a:custGeom>
            <a:avLst/>
            <a:gdLst>
              <a:gd name="T0" fmla="*/ 300 w 431"/>
              <a:gd name="T1" fmla="*/ 285 h 431"/>
              <a:gd name="T2" fmla="*/ 284 w 431"/>
              <a:gd name="T3" fmla="*/ 253 h 431"/>
              <a:gd name="T4" fmla="*/ 237 w 431"/>
              <a:gd name="T5" fmla="*/ 237 h 431"/>
              <a:gd name="T6" fmla="*/ 237 w 431"/>
              <a:gd name="T7" fmla="*/ 221 h 431"/>
              <a:gd name="T8" fmla="*/ 284 w 431"/>
              <a:gd name="T9" fmla="*/ 158 h 431"/>
              <a:gd name="T10" fmla="*/ 253 w 431"/>
              <a:gd name="T11" fmla="*/ 127 h 431"/>
              <a:gd name="T12" fmla="*/ 253 w 431"/>
              <a:gd name="T13" fmla="*/ 111 h 431"/>
              <a:gd name="T14" fmla="*/ 284 w 431"/>
              <a:gd name="T15" fmla="*/ 95 h 431"/>
              <a:gd name="T16" fmla="*/ 284 w 431"/>
              <a:gd name="T17" fmla="*/ 63 h 431"/>
              <a:gd name="T18" fmla="*/ 268 w 431"/>
              <a:gd name="T19" fmla="*/ 47 h 431"/>
              <a:gd name="T20" fmla="*/ 237 w 431"/>
              <a:gd name="T21" fmla="*/ 47 h 431"/>
              <a:gd name="T22" fmla="*/ 221 w 431"/>
              <a:gd name="T23" fmla="*/ 0 h 431"/>
              <a:gd name="T24" fmla="*/ 189 w 431"/>
              <a:gd name="T25" fmla="*/ 0 h 431"/>
              <a:gd name="T26" fmla="*/ 189 w 431"/>
              <a:gd name="T27" fmla="*/ 32 h 431"/>
              <a:gd name="T28" fmla="*/ 111 w 431"/>
              <a:gd name="T29" fmla="*/ 63 h 431"/>
              <a:gd name="T30" fmla="*/ 47 w 431"/>
              <a:gd name="T31" fmla="*/ 63 h 431"/>
              <a:gd name="T32" fmla="*/ 0 w 431"/>
              <a:gd name="T33" fmla="*/ 111 h 431"/>
              <a:gd name="T34" fmla="*/ 0 w 431"/>
              <a:gd name="T35" fmla="*/ 127 h 431"/>
              <a:gd name="T36" fmla="*/ 31 w 431"/>
              <a:gd name="T37" fmla="*/ 158 h 431"/>
              <a:gd name="T38" fmla="*/ 63 w 431"/>
              <a:gd name="T39" fmla="*/ 158 h 431"/>
              <a:gd name="T40" fmla="*/ 63 w 431"/>
              <a:gd name="T41" fmla="*/ 189 h 431"/>
              <a:gd name="T42" fmla="*/ 31 w 431"/>
              <a:gd name="T43" fmla="*/ 205 h 431"/>
              <a:gd name="T44" fmla="*/ 47 w 431"/>
              <a:gd name="T45" fmla="*/ 221 h 431"/>
              <a:gd name="T46" fmla="*/ 31 w 431"/>
              <a:gd name="T47" fmla="*/ 253 h 431"/>
              <a:gd name="T48" fmla="*/ 47 w 431"/>
              <a:gd name="T49" fmla="*/ 285 h 431"/>
              <a:gd name="T50" fmla="*/ 47 w 431"/>
              <a:gd name="T51" fmla="*/ 300 h 431"/>
              <a:gd name="T52" fmla="*/ 79 w 431"/>
              <a:gd name="T53" fmla="*/ 285 h 431"/>
              <a:gd name="T54" fmla="*/ 142 w 431"/>
              <a:gd name="T55" fmla="*/ 269 h 431"/>
              <a:gd name="T56" fmla="*/ 173 w 431"/>
              <a:gd name="T57" fmla="*/ 237 h 431"/>
              <a:gd name="T58" fmla="*/ 253 w 431"/>
              <a:gd name="T59" fmla="*/ 285 h 431"/>
              <a:gd name="T60" fmla="*/ 300 w 431"/>
              <a:gd name="T61" fmla="*/ 285 h 431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431" h="431">
                <a:moveTo>
                  <a:pt x="431" y="409"/>
                </a:moveTo>
                <a:lnTo>
                  <a:pt x="408" y="363"/>
                </a:lnTo>
                <a:lnTo>
                  <a:pt x="340" y="340"/>
                </a:lnTo>
                <a:lnTo>
                  <a:pt x="340" y="318"/>
                </a:lnTo>
                <a:lnTo>
                  <a:pt x="408" y="227"/>
                </a:lnTo>
                <a:lnTo>
                  <a:pt x="363" y="182"/>
                </a:lnTo>
                <a:lnTo>
                  <a:pt x="363" y="159"/>
                </a:lnTo>
                <a:lnTo>
                  <a:pt x="408" y="136"/>
                </a:lnTo>
                <a:lnTo>
                  <a:pt x="408" y="91"/>
                </a:lnTo>
                <a:lnTo>
                  <a:pt x="385" y="68"/>
                </a:lnTo>
                <a:lnTo>
                  <a:pt x="340" y="68"/>
                </a:lnTo>
                <a:lnTo>
                  <a:pt x="317" y="0"/>
                </a:lnTo>
                <a:lnTo>
                  <a:pt x="272" y="0"/>
                </a:lnTo>
                <a:lnTo>
                  <a:pt x="272" y="46"/>
                </a:lnTo>
                <a:lnTo>
                  <a:pt x="159" y="91"/>
                </a:lnTo>
                <a:lnTo>
                  <a:pt x="68" y="91"/>
                </a:lnTo>
                <a:lnTo>
                  <a:pt x="0" y="159"/>
                </a:lnTo>
                <a:lnTo>
                  <a:pt x="0" y="182"/>
                </a:lnTo>
                <a:lnTo>
                  <a:pt x="45" y="227"/>
                </a:lnTo>
                <a:lnTo>
                  <a:pt x="91" y="227"/>
                </a:lnTo>
                <a:lnTo>
                  <a:pt x="91" y="272"/>
                </a:lnTo>
                <a:lnTo>
                  <a:pt x="45" y="295"/>
                </a:lnTo>
                <a:lnTo>
                  <a:pt x="68" y="318"/>
                </a:lnTo>
                <a:lnTo>
                  <a:pt x="45" y="363"/>
                </a:lnTo>
                <a:lnTo>
                  <a:pt x="68" y="409"/>
                </a:lnTo>
                <a:lnTo>
                  <a:pt x="68" y="431"/>
                </a:lnTo>
                <a:lnTo>
                  <a:pt x="113" y="409"/>
                </a:lnTo>
                <a:lnTo>
                  <a:pt x="204" y="386"/>
                </a:lnTo>
                <a:lnTo>
                  <a:pt x="249" y="340"/>
                </a:lnTo>
                <a:lnTo>
                  <a:pt x="363" y="409"/>
                </a:lnTo>
                <a:lnTo>
                  <a:pt x="431" y="409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6" name="Freeform 28"/>
          <p:cNvSpPr>
            <a:spLocks/>
          </p:cNvSpPr>
          <p:nvPr/>
        </p:nvSpPr>
        <p:spPr bwMode="auto">
          <a:xfrm>
            <a:off x="6996176" y="4962178"/>
            <a:ext cx="684000" cy="627062"/>
          </a:xfrm>
          <a:custGeom>
            <a:avLst/>
            <a:gdLst>
              <a:gd name="T0" fmla="*/ 63 w 476"/>
              <a:gd name="T1" fmla="*/ 0 h 567"/>
              <a:gd name="T2" fmla="*/ 156 w 476"/>
              <a:gd name="T3" fmla="*/ 111 h 567"/>
              <a:gd name="T4" fmla="*/ 266 w 476"/>
              <a:gd name="T5" fmla="*/ 111 h 567"/>
              <a:gd name="T6" fmla="*/ 297 w 476"/>
              <a:gd name="T7" fmla="*/ 173 h 567"/>
              <a:gd name="T8" fmla="*/ 328 w 476"/>
              <a:gd name="T9" fmla="*/ 206 h 567"/>
              <a:gd name="T10" fmla="*/ 281 w 476"/>
              <a:gd name="T11" fmla="*/ 206 h 567"/>
              <a:gd name="T12" fmla="*/ 266 w 476"/>
              <a:gd name="T13" fmla="*/ 189 h 567"/>
              <a:gd name="T14" fmla="*/ 203 w 476"/>
              <a:gd name="T15" fmla="*/ 221 h 567"/>
              <a:gd name="T16" fmla="*/ 172 w 476"/>
              <a:gd name="T17" fmla="*/ 268 h 567"/>
              <a:gd name="T18" fmla="*/ 172 w 476"/>
              <a:gd name="T19" fmla="*/ 300 h 567"/>
              <a:gd name="T20" fmla="*/ 156 w 476"/>
              <a:gd name="T21" fmla="*/ 332 h 567"/>
              <a:gd name="T22" fmla="*/ 110 w 476"/>
              <a:gd name="T23" fmla="*/ 348 h 567"/>
              <a:gd name="T24" fmla="*/ 94 w 476"/>
              <a:gd name="T25" fmla="*/ 332 h 567"/>
              <a:gd name="T26" fmla="*/ 63 w 476"/>
              <a:gd name="T27" fmla="*/ 348 h 567"/>
              <a:gd name="T28" fmla="*/ 47 w 476"/>
              <a:gd name="T29" fmla="*/ 363 h 567"/>
              <a:gd name="T30" fmla="*/ 16 w 476"/>
              <a:gd name="T31" fmla="*/ 395 h 567"/>
              <a:gd name="T32" fmla="*/ 0 w 476"/>
              <a:gd name="T33" fmla="*/ 363 h 567"/>
              <a:gd name="T34" fmla="*/ 16 w 476"/>
              <a:gd name="T35" fmla="*/ 363 h 567"/>
              <a:gd name="T36" fmla="*/ 16 w 476"/>
              <a:gd name="T37" fmla="*/ 348 h 567"/>
              <a:gd name="T38" fmla="*/ 31 w 476"/>
              <a:gd name="T39" fmla="*/ 316 h 567"/>
              <a:gd name="T40" fmla="*/ 31 w 476"/>
              <a:gd name="T41" fmla="*/ 300 h 567"/>
              <a:gd name="T42" fmla="*/ 47 w 476"/>
              <a:gd name="T43" fmla="*/ 284 h 567"/>
              <a:gd name="T44" fmla="*/ 47 w 476"/>
              <a:gd name="T45" fmla="*/ 268 h 567"/>
              <a:gd name="T46" fmla="*/ 31 w 476"/>
              <a:gd name="T47" fmla="*/ 268 h 567"/>
              <a:gd name="T48" fmla="*/ 47 w 476"/>
              <a:gd name="T49" fmla="*/ 253 h 567"/>
              <a:gd name="T50" fmla="*/ 63 w 476"/>
              <a:gd name="T51" fmla="*/ 253 h 567"/>
              <a:gd name="T52" fmla="*/ 63 w 476"/>
              <a:gd name="T53" fmla="*/ 237 h 567"/>
              <a:gd name="T54" fmla="*/ 94 w 476"/>
              <a:gd name="T55" fmla="*/ 221 h 567"/>
              <a:gd name="T56" fmla="*/ 125 w 476"/>
              <a:gd name="T57" fmla="*/ 206 h 567"/>
              <a:gd name="T58" fmla="*/ 125 w 476"/>
              <a:gd name="T59" fmla="*/ 189 h 567"/>
              <a:gd name="T60" fmla="*/ 125 w 476"/>
              <a:gd name="T61" fmla="*/ 173 h 567"/>
              <a:gd name="T62" fmla="*/ 94 w 476"/>
              <a:gd name="T63" fmla="*/ 142 h 567"/>
              <a:gd name="T64" fmla="*/ 79 w 476"/>
              <a:gd name="T65" fmla="*/ 158 h 567"/>
              <a:gd name="T66" fmla="*/ 63 w 476"/>
              <a:gd name="T67" fmla="*/ 158 h 567"/>
              <a:gd name="T68" fmla="*/ 94 w 476"/>
              <a:gd name="T69" fmla="*/ 126 h 567"/>
              <a:gd name="T70" fmla="*/ 94 w 476"/>
              <a:gd name="T71" fmla="*/ 95 h 567"/>
              <a:gd name="T72" fmla="*/ 79 w 476"/>
              <a:gd name="T73" fmla="*/ 47 h 567"/>
              <a:gd name="T74" fmla="*/ 63 w 476"/>
              <a:gd name="T75" fmla="*/ 0 h 56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6" h="567">
                <a:moveTo>
                  <a:pt x="91" y="0"/>
                </a:moveTo>
                <a:lnTo>
                  <a:pt x="227" y="159"/>
                </a:lnTo>
                <a:lnTo>
                  <a:pt x="386" y="159"/>
                </a:lnTo>
                <a:lnTo>
                  <a:pt x="431" y="249"/>
                </a:lnTo>
                <a:lnTo>
                  <a:pt x="476" y="295"/>
                </a:lnTo>
                <a:lnTo>
                  <a:pt x="408" y="295"/>
                </a:lnTo>
                <a:lnTo>
                  <a:pt x="386" y="272"/>
                </a:lnTo>
                <a:lnTo>
                  <a:pt x="295" y="317"/>
                </a:lnTo>
                <a:lnTo>
                  <a:pt x="250" y="385"/>
                </a:lnTo>
                <a:lnTo>
                  <a:pt x="250" y="431"/>
                </a:lnTo>
                <a:lnTo>
                  <a:pt x="227" y="476"/>
                </a:lnTo>
                <a:lnTo>
                  <a:pt x="159" y="499"/>
                </a:lnTo>
                <a:lnTo>
                  <a:pt x="136" y="476"/>
                </a:lnTo>
                <a:lnTo>
                  <a:pt x="91" y="499"/>
                </a:lnTo>
                <a:lnTo>
                  <a:pt x="68" y="521"/>
                </a:lnTo>
                <a:lnTo>
                  <a:pt x="23" y="567"/>
                </a:lnTo>
                <a:lnTo>
                  <a:pt x="0" y="521"/>
                </a:lnTo>
                <a:lnTo>
                  <a:pt x="23" y="521"/>
                </a:lnTo>
                <a:lnTo>
                  <a:pt x="23" y="499"/>
                </a:lnTo>
                <a:lnTo>
                  <a:pt x="45" y="453"/>
                </a:lnTo>
                <a:lnTo>
                  <a:pt x="45" y="431"/>
                </a:lnTo>
                <a:lnTo>
                  <a:pt x="68" y="408"/>
                </a:lnTo>
                <a:lnTo>
                  <a:pt x="68" y="385"/>
                </a:lnTo>
                <a:lnTo>
                  <a:pt x="45" y="385"/>
                </a:lnTo>
                <a:lnTo>
                  <a:pt x="68" y="363"/>
                </a:lnTo>
                <a:lnTo>
                  <a:pt x="91" y="363"/>
                </a:lnTo>
                <a:lnTo>
                  <a:pt x="91" y="340"/>
                </a:lnTo>
                <a:lnTo>
                  <a:pt x="136" y="317"/>
                </a:lnTo>
                <a:lnTo>
                  <a:pt x="182" y="295"/>
                </a:lnTo>
                <a:lnTo>
                  <a:pt x="182" y="272"/>
                </a:lnTo>
                <a:lnTo>
                  <a:pt x="182" y="249"/>
                </a:lnTo>
                <a:lnTo>
                  <a:pt x="136" y="204"/>
                </a:lnTo>
                <a:lnTo>
                  <a:pt x="114" y="227"/>
                </a:lnTo>
                <a:lnTo>
                  <a:pt x="91" y="227"/>
                </a:lnTo>
                <a:lnTo>
                  <a:pt x="136" y="181"/>
                </a:lnTo>
                <a:lnTo>
                  <a:pt x="136" y="136"/>
                </a:lnTo>
                <a:lnTo>
                  <a:pt x="114" y="68"/>
                </a:lnTo>
                <a:lnTo>
                  <a:pt x="91" y="0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7" name="Freeform 29"/>
          <p:cNvSpPr>
            <a:spLocks/>
          </p:cNvSpPr>
          <p:nvPr/>
        </p:nvSpPr>
        <p:spPr bwMode="auto">
          <a:xfrm>
            <a:off x="6699492" y="4887968"/>
            <a:ext cx="556865" cy="325437"/>
          </a:xfrm>
          <a:custGeom>
            <a:avLst/>
            <a:gdLst>
              <a:gd name="T0" fmla="*/ 0 w 408"/>
              <a:gd name="T1" fmla="*/ 63 h 295"/>
              <a:gd name="T2" fmla="*/ 0 w 408"/>
              <a:gd name="T3" fmla="*/ 95 h 295"/>
              <a:gd name="T4" fmla="*/ 48 w 408"/>
              <a:gd name="T5" fmla="*/ 126 h 295"/>
              <a:gd name="T6" fmla="*/ 64 w 408"/>
              <a:gd name="T7" fmla="*/ 110 h 295"/>
              <a:gd name="T8" fmla="*/ 111 w 408"/>
              <a:gd name="T9" fmla="*/ 142 h 295"/>
              <a:gd name="T10" fmla="*/ 159 w 408"/>
              <a:gd name="T11" fmla="*/ 142 h 295"/>
              <a:gd name="T12" fmla="*/ 206 w 408"/>
              <a:gd name="T13" fmla="*/ 174 h 295"/>
              <a:gd name="T14" fmla="*/ 254 w 408"/>
              <a:gd name="T15" fmla="*/ 174 h 295"/>
              <a:gd name="T16" fmla="*/ 270 w 408"/>
              <a:gd name="T17" fmla="*/ 190 h 295"/>
              <a:gd name="T18" fmla="*/ 285 w 408"/>
              <a:gd name="T19" fmla="*/ 205 h 295"/>
              <a:gd name="T20" fmla="*/ 285 w 408"/>
              <a:gd name="T21" fmla="*/ 174 h 295"/>
              <a:gd name="T22" fmla="*/ 254 w 408"/>
              <a:gd name="T23" fmla="*/ 79 h 295"/>
              <a:gd name="T24" fmla="*/ 254 w 408"/>
              <a:gd name="T25" fmla="*/ 48 h 295"/>
              <a:gd name="T26" fmla="*/ 206 w 408"/>
              <a:gd name="T27" fmla="*/ 48 h 295"/>
              <a:gd name="T28" fmla="*/ 126 w 408"/>
              <a:gd name="T29" fmla="*/ 0 h 295"/>
              <a:gd name="T30" fmla="*/ 95 w 408"/>
              <a:gd name="T31" fmla="*/ 32 h 295"/>
              <a:gd name="T32" fmla="*/ 31 w 408"/>
              <a:gd name="T33" fmla="*/ 48 h 295"/>
              <a:gd name="T34" fmla="*/ 0 w 408"/>
              <a:gd name="T35" fmla="*/ 63 h 29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408" h="295">
                <a:moveTo>
                  <a:pt x="0" y="91"/>
                </a:moveTo>
                <a:lnTo>
                  <a:pt x="0" y="137"/>
                </a:lnTo>
                <a:lnTo>
                  <a:pt x="68" y="182"/>
                </a:lnTo>
                <a:lnTo>
                  <a:pt x="91" y="159"/>
                </a:lnTo>
                <a:lnTo>
                  <a:pt x="159" y="205"/>
                </a:lnTo>
                <a:lnTo>
                  <a:pt x="227" y="205"/>
                </a:lnTo>
                <a:lnTo>
                  <a:pt x="295" y="250"/>
                </a:lnTo>
                <a:lnTo>
                  <a:pt x="363" y="250"/>
                </a:lnTo>
                <a:lnTo>
                  <a:pt x="386" y="273"/>
                </a:lnTo>
                <a:lnTo>
                  <a:pt x="408" y="295"/>
                </a:lnTo>
                <a:lnTo>
                  <a:pt x="408" y="250"/>
                </a:lnTo>
                <a:lnTo>
                  <a:pt x="363" y="114"/>
                </a:lnTo>
                <a:lnTo>
                  <a:pt x="363" y="69"/>
                </a:lnTo>
                <a:lnTo>
                  <a:pt x="295" y="69"/>
                </a:lnTo>
                <a:lnTo>
                  <a:pt x="181" y="0"/>
                </a:lnTo>
                <a:lnTo>
                  <a:pt x="136" y="46"/>
                </a:lnTo>
                <a:lnTo>
                  <a:pt x="45" y="69"/>
                </a:lnTo>
                <a:lnTo>
                  <a:pt x="0" y="91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8" name="Freeform 30"/>
          <p:cNvSpPr>
            <a:spLocks/>
          </p:cNvSpPr>
          <p:nvPr/>
        </p:nvSpPr>
        <p:spPr bwMode="auto">
          <a:xfrm>
            <a:off x="6793296" y="5049216"/>
            <a:ext cx="540000" cy="324000"/>
          </a:xfrm>
          <a:custGeom>
            <a:avLst/>
            <a:gdLst>
              <a:gd name="T0" fmla="*/ 204 w 340"/>
              <a:gd name="T1" fmla="*/ 127 h 227"/>
              <a:gd name="T2" fmla="*/ 235 w 340"/>
              <a:gd name="T3" fmla="*/ 95 h 227"/>
              <a:gd name="T4" fmla="*/ 204 w 340"/>
              <a:gd name="T5" fmla="*/ 63 h 227"/>
              <a:gd name="T6" fmla="*/ 157 w 340"/>
              <a:gd name="T7" fmla="*/ 63 h 227"/>
              <a:gd name="T8" fmla="*/ 110 w 340"/>
              <a:gd name="T9" fmla="*/ 32 h 227"/>
              <a:gd name="T10" fmla="*/ 63 w 340"/>
              <a:gd name="T11" fmla="*/ 32 h 227"/>
              <a:gd name="T12" fmla="*/ 16 w 340"/>
              <a:gd name="T13" fmla="*/ 0 h 227"/>
              <a:gd name="T14" fmla="*/ 0 w 340"/>
              <a:gd name="T15" fmla="*/ 16 h 227"/>
              <a:gd name="T16" fmla="*/ 16 w 340"/>
              <a:gd name="T17" fmla="*/ 32 h 227"/>
              <a:gd name="T18" fmla="*/ 16 w 340"/>
              <a:gd name="T19" fmla="*/ 63 h 227"/>
              <a:gd name="T20" fmla="*/ 31 w 340"/>
              <a:gd name="T21" fmla="*/ 79 h 227"/>
              <a:gd name="T22" fmla="*/ 78 w 340"/>
              <a:gd name="T23" fmla="*/ 111 h 227"/>
              <a:gd name="T24" fmla="*/ 94 w 340"/>
              <a:gd name="T25" fmla="*/ 142 h 227"/>
              <a:gd name="T26" fmla="*/ 110 w 340"/>
              <a:gd name="T27" fmla="*/ 111 h 227"/>
              <a:gd name="T28" fmla="*/ 141 w 340"/>
              <a:gd name="T29" fmla="*/ 111 h 227"/>
              <a:gd name="T30" fmla="*/ 157 w 340"/>
              <a:gd name="T31" fmla="*/ 142 h 227"/>
              <a:gd name="T32" fmla="*/ 188 w 340"/>
              <a:gd name="T33" fmla="*/ 158 h 227"/>
              <a:gd name="T34" fmla="*/ 172 w 340"/>
              <a:gd name="T35" fmla="*/ 142 h 227"/>
              <a:gd name="T36" fmla="*/ 188 w 340"/>
              <a:gd name="T37" fmla="*/ 111 h 227"/>
              <a:gd name="T38" fmla="*/ 204 w 340"/>
              <a:gd name="T39" fmla="*/ 127 h 22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40" h="227">
                <a:moveTo>
                  <a:pt x="295" y="182"/>
                </a:moveTo>
                <a:lnTo>
                  <a:pt x="340" y="136"/>
                </a:lnTo>
                <a:lnTo>
                  <a:pt x="295" y="91"/>
                </a:lnTo>
                <a:lnTo>
                  <a:pt x="227" y="91"/>
                </a:lnTo>
                <a:lnTo>
                  <a:pt x="159" y="46"/>
                </a:lnTo>
                <a:lnTo>
                  <a:pt x="91" y="46"/>
                </a:lnTo>
                <a:lnTo>
                  <a:pt x="23" y="0"/>
                </a:lnTo>
                <a:lnTo>
                  <a:pt x="0" y="23"/>
                </a:lnTo>
                <a:lnTo>
                  <a:pt x="23" y="46"/>
                </a:lnTo>
                <a:lnTo>
                  <a:pt x="23" y="91"/>
                </a:lnTo>
                <a:lnTo>
                  <a:pt x="45" y="114"/>
                </a:lnTo>
                <a:lnTo>
                  <a:pt x="113" y="159"/>
                </a:lnTo>
                <a:lnTo>
                  <a:pt x="136" y="204"/>
                </a:lnTo>
                <a:lnTo>
                  <a:pt x="159" y="159"/>
                </a:lnTo>
                <a:lnTo>
                  <a:pt x="204" y="159"/>
                </a:lnTo>
                <a:lnTo>
                  <a:pt x="227" y="204"/>
                </a:lnTo>
                <a:lnTo>
                  <a:pt x="272" y="227"/>
                </a:lnTo>
                <a:lnTo>
                  <a:pt x="249" y="204"/>
                </a:lnTo>
                <a:lnTo>
                  <a:pt x="272" y="159"/>
                </a:lnTo>
                <a:lnTo>
                  <a:pt x="295" y="182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19" name="Freeform 31"/>
          <p:cNvSpPr>
            <a:spLocks/>
          </p:cNvSpPr>
          <p:nvPr/>
        </p:nvSpPr>
        <p:spPr bwMode="auto">
          <a:xfrm>
            <a:off x="6699473" y="5189593"/>
            <a:ext cx="463077" cy="301625"/>
          </a:xfrm>
          <a:custGeom>
            <a:avLst/>
            <a:gdLst>
              <a:gd name="T0" fmla="*/ 237 w 340"/>
              <a:gd name="T1" fmla="*/ 79 h 272"/>
              <a:gd name="T2" fmla="*/ 206 w 340"/>
              <a:gd name="T3" fmla="*/ 63 h 272"/>
              <a:gd name="T4" fmla="*/ 190 w 340"/>
              <a:gd name="T5" fmla="*/ 31 h 272"/>
              <a:gd name="T6" fmla="*/ 158 w 340"/>
              <a:gd name="T7" fmla="*/ 31 h 272"/>
              <a:gd name="T8" fmla="*/ 142 w 340"/>
              <a:gd name="T9" fmla="*/ 63 h 272"/>
              <a:gd name="T10" fmla="*/ 126 w 340"/>
              <a:gd name="T11" fmla="*/ 31 h 272"/>
              <a:gd name="T12" fmla="*/ 79 w 340"/>
              <a:gd name="T13" fmla="*/ 0 h 272"/>
              <a:gd name="T14" fmla="*/ 79 w 340"/>
              <a:gd name="T15" fmla="*/ 48 h 272"/>
              <a:gd name="T16" fmla="*/ 0 w 340"/>
              <a:gd name="T17" fmla="*/ 48 h 272"/>
              <a:gd name="T18" fmla="*/ 0 w 340"/>
              <a:gd name="T19" fmla="*/ 63 h 272"/>
              <a:gd name="T20" fmla="*/ 16 w 340"/>
              <a:gd name="T21" fmla="*/ 79 h 272"/>
              <a:gd name="T22" fmla="*/ 0 w 340"/>
              <a:gd name="T23" fmla="*/ 126 h 272"/>
              <a:gd name="T24" fmla="*/ 31 w 340"/>
              <a:gd name="T25" fmla="*/ 158 h 272"/>
              <a:gd name="T26" fmla="*/ 47 w 340"/>
              <a:gd name="T27" fmla="*/ 126 h 272"/>
              <a:gd name="T28" fmla="*/ 95 w 340"/>
              <a:gd name="T29" fmla="*/ 110 h 272"/>
              <a:gd name="T30" fmla="*/ 142 w 340"/>
              <a:gd name="T31" fmla="*/ 126 h 272"/>
              <a:gd name="T32" fmla="*/ 158 w 340"/>
              <a:gd name="T33" fmla="*/ 143 h 272"/>
              <a:gd name="T34" fmla="*/ 158 w 340"/>
              <a:gd name="T35" fmla="*/ 174 h 272"/>
              <a:gd name="T36" fmla="*/ 174 w 340"/>
              <a:gd name="T37" fmla="*/ 190 h 272"/>
              <a:gd name="T38" fmla="*/ 174 w 340"/>
              <a:gd name="T39" fmla="*/ 174 h 272"/>
              <a:gd name="T40" fmla="*/ 190 w 340"/>
              <a:gd name="T41" fmla="*/ 174 h 272"/>
              <a:gd name="T42" fmla="*/ 206 w 340"/>
              <a:gd name="T43" fmla="*/ 174 h 272"/>
              <a:gd name="T44" fmla="*/ 174 w 340"/>
              <a:gd name="T45" fmla="*/ 143 h 272"/>
              <a:gd name="T46" fmla="*/ 174 w 340"/>
              <a:gd name="T47" fmla="*/ 95 h 272"/>
              <a:gd name="T48" fmla="*/ 190 w 340"/>
              <a:gd name="T49" fmla="*/ 95 h 272"/>
              <a:gd name="T50" fmla="*/ 237 w 340"/>
              <a:gd name="T51" fmla="*/ 79 h 27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340" h="272">
                <a:moveTo>
                  <a:pt x="340" y="113"/>
                </a:moveTo>
                <a:lnTo>
                  <a:pt x="295" y="90"/>
                </a:lnTo>
                <a:lnTo>
                  <a:pt x="272" y="45"/>
                </a:lnTo>
                <a:lnTo>
                  <a:pt x="227" y="45"/>
                </a:lnTo>
                <a:lnTo>
                  <a:pt x="204" y="90"/>
                </a:lnTo>
                <a:lnTo>
                  <a:pt x="181" y="45"/>
                </a:lnTo>
                <a:lnTo>
                  <a:pt x="113" y="0"/>
                </a:lnTo>
                <a:lnTo>
                  <a:pt x="113" y="68"/>
                </a:lnTo>
                <a:lnTo>
                  <a:pt x="0" y="68"/>
                </a:lnTo>
                <a:lnTo>
                  <a:pt x="0" y="90"/>
                </a:lnTo>
                <a:lnTo>
                  <a:pt x="23" y="113"/>
                </a:lnTo>
                <a:lnTo>
                  <a:pt x="0" y="181"/>
                </a:lnTo>
                <a:lnTo>
                  <a:pt x="45" y="226"/>
                </a:lnTo>
                <a:lnTo>
                  <a:pt x="68" y="181"/>
                </a:lnTo>
                <a:lnTo>
                  <a:pt x="136" y="158"/>
                </a:lnTo>
                <a:lnTo>
                  <a:pt x="204" y="181"/>
                </a:lnTo>
                <a:lnTo>
                  <a:pt x="227" y="204"/>
                </a:lnTo>
                <a:lnTo>
                  <a:pt x="227" y="249"/>
                </a:lnTo>
                <a:lnTo>
                  <a:pt x="249" y="272"/>
                </a:lnTo>
                <a:lnTo>
                  <a:pt x="249" y="249"/>
                </a:lnTo>
                <a:lnTo>
                  <a:pt x="272" y="249"/>
                </a:lnTo>
                <a:lnTo>
                  <a:pt x="295" y="249"/>
                </a:lnTo>
                <a:lnTo>
                  <a:pt x="249" y="204"/>
                </a:lnTo>
                <a:lnTo>
                  <a:pt x="249" y="136"/>
                </a:lnTo>
                <a:lnTo>
                  <a:pt x="272" y="136"/>
                </a:lnTo>
                <a:lnTo>
                  <a:pt x="340" y="113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0" name="Freeform 32"/>
          <p:cNvSpPr>
            <a:spLocks/>
          </p:cNvSpPr>
          <p:nvPr/>
        </p:nvSpPr>
        <p:spPr bwMode="auto">
          <a:xfrm>
            <a:off x="5896451" y="5114925"/>
            <a:ext cx="865583" cy="550862"/>
          </a:xfrm>
          <a:custGeom>
            <a:avLst/>
            <a:gdLst>
              <a:gd name="T0" fmla="*/ 443 w 635"/>
              <a:gd name="T1" fmla="*/ 204 h 499"/>
              <a:gd name="T2" fmla="*/ 412 w 635"/>
              <a:gd name="T3" fmla="*/ 173 h 499"/>
              <a:gd name="T4" fmla="*/ 428 w 635"/>
              <a:gd name="T5" fmla="*/ 126 h 499"/>
              <a:gd name="T6" fmla="*/ 412 w 635"/>
              <a:gd name="T7" fmla="*/ 110 h 499"/>
              <a:gd name="T8" fmla="*/ 380 w 635"/>
              <a:gd name="T9" fmla="*/ 126 h 499"/>
              <a:gd name="T10" fmla="*/ 364 w 635"/>
              <a:gd name="T11" fmla="*/ 126 h 499"/>
              <a:gd name="T12" fmla="*/ 333 w 635"/>
              <a:gd name="T13" fmla="*/ 79 h 499"/>
              <a:gd name="T14" fmla="*/ 301 w 635"/>
              <a:gd name="T15" fmla="*/ 95 h 499"/>
              <a:gd name="T16" fmla="*/ 301 w 635"/>
              <a:gd name="T17" fmla="*/ 142 h 499"/>
              <a:gd name="T18" fmla="*/ 285 w 635"/>
              <a:gd name="T19" fmla="*/ 157 h 499"/>
              <a:gd name="T20" fmla="*/ 269 w 635"/>
              <a:gd name="T21" fmla="*/ 142 h 499"/>
              <a:gd name="T22" fmla="*/ 269 w 635"/>
              <a:gd name="T23" fmla="*/ 110 h 499"/>
              <a:gd name="T24" fmla="*/ 237 w 635"/>
              <a:gd name="T25" fmla="*/ 95 h 499"/>
              <a:gd name="T26" fmla="*/ 269 w 635"/>
              <a:gd name="T27" fmla="*/ 47 h 499"/>
              <a:gd name="T28" fmla="*/ 253 w 635"/>
              <a:gd name="T29" fmla="*/ 0 h 499"/>
              <a:gd name="T30" fmla="*/ 222 w 635"/>
              <a:gd name="T31" fmla="*/ 15 h 499"/>
              <a:gd name="T32" fmla="*/ 222 w 635"/>
              <a:gd name="T33" fmla="*/ 63 h 499"/>
              <a:gd name="T34" fmla="*/ 111 w 635"/>
              <a:gd name="T35" fmla="*/ 95 h 499"/>
              <a:gd name="T36" fmla="*/ 111 w 635"/>
              <a:gd name="T37" fmla="*/ 126 h 499"/>
              <a:gd name="T38" fmla="*/ 63 w 635"/>
              <a:gd name="T39" fmla="*/ 157 h 499"/>
              <a:gd name="T40" fmla="*/ 47 w 635"/>
              <a:gd name="T41" fmla="*/ 189 h 499"/>
              <a:gd name="T42" fmla="*/ 16 w 635"/>
              <a:gd name="T43" fmla="*/ 189 h 499"/>
              <a:gd name="T44" fmla="*/ 0 w 635"/>
              <a:gd name="T45" fmla="*/ 236 h 499"/>
              <a:gd name="T46" fmla="*/ 80 w 635"/>
              <a:gd name="T47" fmla="*/ 268 h 499"/>
              <a:gd name="T48" fmla="*/ 111 w 635"/>
              <a:gd name="T49" fmla="*/ 268 h 499"/>
              <a:gd name="T50" fmla="*/ 174 w 635"/>
              <a:gd name="T51" fmla="*/ 299 h 499"/>
              <a:gd name="T52" fmla="*/ 206 w 635"/>
              <a:gd name="T53" fmla="*/ 252 h 499"/>
              <a:gd name="T54" fmla="*/ 237 w 635"/>
              <a:gd name="T55" fmla="*/ 220 h 499"/>
              <a:gd name="T56" fmla="*/ 285 w 635"/>
              <a:gd name="T57" fmla="*/ 204 h 499"/>
              <a:gd name="T58" fmla="*/ 317 w 635"/>
              <a:gd name="T59" fmla="*/ 173 h 499"/>
              <a:gd name="T60" fmla="*/ 380 w 635"/>
              <a:gd name="T61" fmla="*/ 189 h 499"/>
              <a:gd name="T62" fmla="*/ 396 w 635"/>
              <a:gd name="T63" fmla="*/ 204 h 499"/>
              <a:gd name="T64" fmla="*/ 380 w 635"/>
              <a:gd name="T65" fmla="*/ 220 h 499"/>
              <a:gd name="T66" fmla="*/ 348 w 635"/>
              <a:gd name="T67" fmla="*/ 220 h 499"/>
              <a:gd name="T68" fmla="*/ 348 w 635"/>
              <a:gd name="T69" fmla="*/ 236 h 499"/>
              <a:gd name="T70" fmla="*/ 333 w 635"/>
              <a:gd name="T71" fmla="*/ 268 h 499"/>
              <a:gd name="T72" fmla="*/ 317 w 635"/>
              <a:gd name="T73" fmla="*/ 315 h 499"/>
              <a:gd name="T74" fmla="*/ 333 w 635"/>
              <a:gd name="T75" fmla="*/ 347 h 499"/>
              <a:gd name="T76" fmla="*/ 380 w 635"/>
              <a:gd name="T77" fmla="*/ 331 h 499"/>
              <a:gd name="T78" fmla="*/ 412 w 635"/>
              <a:gd name="T79" fmla="*/ 284 h 499"/>
              <a:gd name="T80" fmla="*/ 443 w 635"/>
              <a:gd name="T81" fmla="*/ 268 h 499"/>
              <a:gd name="T82" fmla="*/ 428 w 635"/>
              <a:gd name="T83" fmla="*/ 236 h 499"/>
              <a:gd name="T84" fmla="*/ 428 w 635"/>
              <a:gd name="T85" fmla="*/ 220 h 499"/>
              <a:gd name="T86" fmla="*/ 443 w 635"/>
              <a:gd name="T87" fmla="*/ 204 h 49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35" h="499">
                <a:moveTo>
                  <a:pt x="635" y="294"/>
                </a:moveTo>
                <a:lnTo>
                  <a:pt x="590" y="249"/>
                </a:lnTo>
                <a:lnTo>
                  <a:pt x="613" y="181"/>
                </a:lnTo>
                <a:lnTo>
                  <a:pt x="590" y="158"/>
                </a:lnTo>
                <a:lnTo>
                  <a:pt x="545" y="181"/>
                </a:lnTo>
                <a:lnTo>
                  <a:pt x="522" y="181"/>
                </a:lnTo>
                <a:lnTo>
                  <a:pt x="477" y="113"/>
                </a:lnTo>
                <a:lnTo>
                  <a:pt x="431" y="136"/>
                </a:lnTo>
                <a:lnTo>
                  <a:pt x="431" y="204"/>
                </a:lnTo>
                <a:lnTo>
                  <a:pt x="409" y="226"/>
                </a:lnTo>
                <a:lnTo>
                  <a:pt x="386" y="204"/>
                </a:lnTo>
                <a:lnTo>
                  <a:pt x="386" y="158"/>
                </a:lnTo>
                <a:lnTo>
                  <a:pt x="340" y="136"/>
                </a:lnTo>
                <a:lnTo>
                  <a:pt x="386" y="68"/>
                </a:lnTo>
                <a:lnTo>
                  <a:pt x="363" y="0"/>
                </a:lnTo>
                <a:lnTo>
                  <a:pt x="318" y="22"/>
                </a:lnTo>
                <a:lnTo>
                  <a:pt x="318" y="90"/>
                </a:lnTo>
                <a:lnTo>
                  <a:pt x="159" y="136"/>
                </a:lnTo>
                <a:lnTo>
                  <a:pt x="159" y="181"/>
                </a:lnTo>
                <a:lnTo>
                  <a:pt x="91" y="226"/>
                </a:lnTo>
                <a:lnTo>
                  <a:pt x="68" y="272"/>
                </a:lnTo>
                <a:lnTo>
                  <a:pt x="23" y="272"/>
                </a:lnTo>
                <a:lnTo>
                  <a:pt x="0" y="340"/>
                </a:lnTo>
                <a:lnTo>
                  <a:pt x="114" y="385"/>
                </a:lnTo>
                <a:lnTo>
                  <a:pt x="159" y="385"/>
                </a:lnTo>
                <a:lnTo>
                  <a:pt x="250" y="430"/>
                </a:lnTo>
                <a:lnTo>
                  <a:pt x="295" y="362"/>
                </a:lnTo>
                <a:lnTo>
                  <a:pt x="340" y="317"/>
                </a:lnTo>
                <a:lnTo>
                  <a:pt x="409" y="294"/>
                </a:lnTo>
                <a:lnTo>
                  <a:pt x="454" y="249"/>
                </a:lnTo>
                <a:lnTo>
                  <a:pt x="545" y="272"/>
                </a:lnTo>
                <a:lnTo>
                  <a:pt x="567" y="294"/>
                </a:lnTo>
                <a:lnTo>
                  <a:pt x="545" y="317"/>
                </a:lnTo>
                <a:lnTo>
                  <a:pt x="499" y="317"/>
                </a:lnTo>
                <a:lnTo>
                  <a:pt x="499" y="340"/>
                </a:lnTo>
                <a:lnTo>
                  <a:pt x="477" y="385"/>
                </a:lnTo>
                <a:lnTo>
                  <a:pt x="454" y="453"/>
                </a:lnTo>
                <a:lnTo>
                  <a:pt x="477" y="499"/>
                </a:lnTo>
                <a:lnTo>
                  <a:pt x="545" y="476"/>
                </a:lnTo>
                <a:lnTo>
                  <a:pt x="590" y="408"/>
                </a:lnTo>
                <a:lnTo>
                  <a:pt x="635" y="385"/>
                </a:lnTo>
                <a:lnTo>
                  <a:pt x="613" y="340"/>
                </a:lnTo>
                <a:lnTo>
                  <a:pt x="613" y="317"/>
                </a:lnTo>
                <a:lnTo>
                  <a:pt x="635" y="294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1" name="Freeform 33"/>
          <p:cNvSpPr>
            <a:spLocks/>
          </p:cNvSpPr>
          <p:nvPr/>
        </p:nvSpPr>
        <p:spPr bwMode="auto">
          <a:xfrm>
            <a:off x="6359492" y="4964113"/>
            <a:ext cx="486524" cy="400050"/>
          </a:xfrm>
          <a:custGeom>
            <a:avLst/>
            <a:gdLst>
              <a:gd name="T0" fmla="*/ 16 w 363"/>
              <a:gd name="T1" fmla="*/ 95 h 362"/>
              <a:gd name="T2" fmla="*/ 32 w 363"/>
              <a:gd name="T3" fmla="*/ 142 h 362"/>
              <a:gd name="T4" fmla="*/ 0 w 363"/>
              <a:gd name="T5" fmla="*/ 189 h 362"/>
              <a:gd name="T6" fmla="*/ 32 w 363"/>
              <a:gd name="T7" fmla="*/ 205 h 362"/>
              <a:gd name="T8" fmla="*/ 32 w 363"/>
              <a:gd name="T9" fmla="*/ 237 h 362"/>
              <a:gd name="T10" fmla="*/ 47 w 363"/>
              <a:gd name="T11" fmla="*/ 252 h 362"/>
              <a:gd name="T12" fmla="*/ 62 w 363"/>
              <a:gd name="T13" fmla="*/ 237 h 362"/>
              <a:gd name="T14" fmla="*/ 62 w 363"/>
              <a:gd name="T15" fmla="*/ 189 h 362"/>
              <a:gd name="T16" fmla="*/ 94 w 363"/>
              <a:gd name="T17" fmla="*/ 173 h 362"/>
              <a:gd name="T18" fmla="*/ 125 w 363"/>
              <a:gd name="T19" fmla="*/ 221 h 362"/>
              <a:gd name="T20" fmla="*/ 141 w 363"/>
              <a:gd name="T21" fmla="*/ 221 h 362"/>
              <a:gd name="T22" fmla="*/ 171 w 363"/>
              <a:gd name="T23" fmla="*/ 205 h 362"/>
              <a:gd name="T24" fmla="*/ 171 w 363"/>
              <a:gd name="T25" fmla="*/ 189 h 362"/>
              <a:gd name="T26" fmla="*/ 249 w 363"/>
              <a:gd name="T27" fmla="*/ 189 h 362"/>
              <a:gd name="T28" fmla="*/ 249 w 363"/>
              <a:gd name="T29" fmla="*/ 142 h 362"/>
              <a:gd name="T30" fmla="*/ 234 w 363"/>
              <a:gd name="T31" fmla="*/ 126 h 362"/>
              <a:gd name="T32" fmla="*/ 234 w 363"/>
              <a:gd name="T33" fmla="*/ 95 h 362"/>
              <a:gd name="T34" fmla="*/ 218 w 363"/>
              <a:gd name="T35" fmla="*/ 79 h 362"/>
              <a:gd name="T36" fmla="*/ 171 w 363"/>
              <a:gd name="T37" fmla="*/ 47 h 362"/>
              <a:gd name="T38" fmla="*/ 78 w 363"/>
              <a:gd name="T39" fmla="*/ 0 h 362"/>
              <a:gd name="T40" fmla="*/ 62 w 363"/>
              <a:gd name="T41" fmla="*/ 31 h 362"/>
              <a:gd name="T42" fmla="*/ 47 w 363"/>
              <a:gd name="T43" fmla="*/ 15 h 362"/>
              <a:gd name="T44" fmla="*/ 16 w 363"/>
              <a:gd name="T45" fmla="*/ 47 h 362"/>
              <a:gd name="T46" fmla="*/ 16 w 363"/>
              <a:gd name="T47" fmla="*/ 95 h 36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363" h="362">
                <a:moveTo>
                  <a:pt x="23" y="136"/>
                </a:moveTo>
                <a:lnTo>
                  <a:pt x="46" y="204"/>
                </a:lnTo>
                <a:lnTo>
                  <a:pt x="0" y="272"/>
                </a:lnTo>
                <a:lnTo>
                  <a:pt x="46" y="294"/>
                </a:lnTo>
                <a:lnTo>
                  <a:pt x="46" y="340"/>
                </a:lnTo>
                <a:lnTo>
                  <a:pt x="69" y="362"/>
                </a:lnTo>
                <a:lnTo>
                  <a:pt x="91" y="340"/>
                </a:lnTo>
                <a:lnTo>
                  <a:pt x="91" y="272"/>
                </a:lnTo>
                <a:lnTo>
                  <a:pt x="137" y="249"/>
                </a:lnTo>
                <a:lnTo>
                  <a:pt x="182" y="317"/>
                </a:lnTo>
                <a:lnTo>
                  <a:pt x="205" y="317"/>
                </a:lnTo>
                <a:lnTo>
                  <a:pt x="250" y="294"/>
                </a:lnTo>
                <a:lnTo>
                  <a:pt x="250" y="272"/>
                </a:lnTo>
                <a:lnTo>
                  <a:pt x="363" y="272"/>
                </a:lnTo>
                <a:lnTo>
                  <a:pt x="363" y="204"/>
                </a:lnTo>
                <a:lnTo>
                  <a:pt x="341" y="181"/>
                </a:lnTo>
                <a:lnTo>
                  <a:pt x="341" y="136"/>
                </a:lnTo>
                <a:lnTo>
                  <a:pt x="318" y="113"/>
                </a:lnTo>
                <a:lnTo>
                  <a:pt x="250" y="68"/>
                </a:lnTo>
                <a:lnTo>
                  <a:pt x="114" y="0"/>
                </a:lnTo>
                <a:lnTo>
                  <a:pt x="91" y="45"/>
                </a:lnTo>
                <a:lnTo>
                  <a:pt x="69" y="22"/>
                </a:lnTo>
                <a:lnTo>
                  <a:pt x="23" y="68"/>
                </a:lnTo>
                <a:lnTo>
                  <a:pt x="23" y="136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2" name="Freeform 34"/>
          <p:cNvSpPr>
            <a:spLocks/>
          </p:cNvSpPr>
          <p:nvPr/>
        </p:nvSpPr>
        <p:spPr bwMode="auto">
          <a:xfrm>
            <a:off x="5990202" y="4437118"/>
            <a:ext cx="834320" cy="827087"/>
          </a:xfrm>
          <a:custGeom>
            <a:avLst/>
            <a:gdLst>
              <a:gd name="T0" fmla="*/ 63 w 613"/>
              <a:gd name="T1" fmla="*/ 521 h 749"/>
              <a:gd name="T2" fmla="*/ 174 w 613"/>
              <a:gd name="T3" fmla="*/ 489 h 749"/>
              <a:gd name="T4" fmla="*/ 174 w 613"/>
              <a:gd name="T5" fmla="*/ 442 h 749"/>
              <a:gd name="T6" fmla="*/ 205 w 613"/>
              <a:gd name="T7" fmla="*/ 426 h 749"/>
              <a:gd name="T8" fmla="*/ 205 w 613"/>
              <a:gd name="T9" fmla="*/ 379 h 749"/>
              <a:gd name="T10" fmla="*/ 238 w 613"/>
              <a:gd name="T11" fmla="*/ 347 h 749"/>
              <a:gd name="T12" fmla="*/ 253 w 613"/>
              <a:gd name="T13" fmla="*/ 363 h 749"/>
              <a:gd name="T14" fmla="*/ 269 w 613"/>
              <a:gd name="T15" fmla="*/ 332 h 749"/>
              <a:gd name="T16" fmla="*/ 364 w 613"/>
              <a:gd name="T17" fmla="*/ 379 h 749"/>
              <a:gd name="T18" fmla="*/ 364 w 613"/>
              <a:gd name="T19" fmla="*/ 347 h 749"/>
              <a:gd name="T20" fmla="*/ 364 w 613"/>
              <a:gd name="T21" fmla="*/ 332 h 749"/>
              <a:gd name="T22" fmla="*/ 348 w 613"/>
              <a:gd name="T23" fmla="*/ 300 h 749"/>
              <a:gd name="T24" fmla="*/ 364 w 613"/>
              <a:gd name="T25" fmla="*/ 268 h 749"/>
              <a:gd name="T26" fmla="*/ 348 w 613"/>
              <a:gd name="T27" fmla="*/ 253 h 749"/>
              <a:gd name="T28" fmla="*/ 380 w 613"/>
              <a:gd name="T29" fmla="*/ 237 h 749"/>
              <a:gd name="T30" fmla="*/ 380 w 613"/>
              <a:gd name="T31" fmla="*/ 205 h 749"/>
              <a:gd name="T32" fmla="*/ 348 w 613"/>
              <a:gd name="T33" fmla="*/ 205 h 749"/>
              <a:gd name="T34" fmla="*/ 316 w 613"/>
              <a:gd name="T35" fmla="*/ 174 h 749"/>
              <a:gd name="T36" fmla="*/ 316 w 613"/>
              <a:gd name="T37" fmla="*/ 158 h 749"/>
              <a:gd name="T38" fmla="*/ 364 w 613"/>
              <a:gd name="T39" fmla="*/ 111 h 749"/>
              <a:gd name="T40" fmla="*/ 427 w 613"/>
              <a:gd name="T41" fmla="*/ 111 h 749"/>
              <a:gd name="T42" fmla="*/ 427 w 613"/>
              <a:gd name="T43" fmla="*/ 79 h 749"/>
              <a:gd name="T44" fmla="*/ 395 w 613"/>
              <a:gd name="T45" fmla="*/ 63 h 749"/>
              <a:gd name="T46" fmla="*/ 411 w 613"/>
              <a:gd name="T47" fmla="*/ 16 h 749"/>
              <a:gd name="T48" fmla="*/ 380 w 613"/>
              <a:gd name="T49" fmla="*/ 0 h 749"/>
              <a:gd name="T50" fmla="*/ 332 w 613"/>
              <a:gd name="T51" fmla="*/ 32 h 749"/>
              <a:gd name="T52" fmla="*/ 269 w 613"/>
              <a:gd name="T53" fmla="*/ 47 h 749"/>
              <a:gd name="T54" fmla="*/ 269 w 613"/>
              <a:gd name="T55" fmla="*/ 16 h 749"/>
              <a:gd name="T56" fmla="*/ 238 w 613"/>
              <a:gd name="T57" fmla="*/ 16 h 749"/>
              <a:gd name="T58" fmla="*/ 189 w 613"/>
              <a:gd name="T59" fmla="*/ 47 h 749"/>
              <a:gd name="T60" fmla="*/ 174 w 613"/>
              <a:gd name="T61" fmla="*/ 95 h 749"/>
              <a:gd name="T62" fmla="*/ 111 w 613"/>
              <a:gd name="T63" fmla="*/ 142 h 749"/>
              <a:gd name="T64" fmla="*/ 127 w 613"/>
              <a:gd name="T65" fmla="*/ 174 h 749"/>
              <a:gd name="T66" fmla="*/ 95 w 613"/>
              <a:gd name="T67" fmla="*/ 205 h 749"/>
              <a:gd name="T68" fmla="*/ 95 w 613"/>
              <a:gd name="T69" fmla="*/ 253 h 749"/>
              <a:gd name="T70" fmla="*/ 63 w 613"/>
              <a:gd name="T71" fmla="*/ 284 h 749"/>
              <a:gd name="T72" fmla="*/ 16 w 613"/>
              <a:gd name="T73" fmla="*/ 284 h 749"/>
              <a:gd name="T74" fmla="*/ 0 w 613"/>
              <a:gd name="T75" fmla="*/ 316 h 749"/>
              <a:gd name="T76" fmla="*/ 32 w 613"/>
              <a:gd name="T77" fmla="*/ 332 h 749"/>
              <a:gd name="T78" fmla="*/ 32 w 613"/>
              <a:gd name="T79" fmla="*/ 379 h 749"/>
              <a:gd name="T80" fmla="*/ 63 w 613"/>
              <a:gd name="T81" fmla="*/ 426 h 749"/>
              <a:gd name="T82" fmla="*/ 32 w 613"/>
              <a:gd name="T83" fmla="*/ 458 h 749"/>
              <a:gd name="T84" fmla="*/ 16 w 613"/>
              <a:gd name="T85" fmla="*/ 505 h 749"/>
              <a:gd name="T86" fmla="*/ 63 w 613"/>
              <a:gd name="T87" fmla="*/ 521 h 74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13" h="749">
                <a:moveTo>
                  <a:pt x="91" y="749"/>
                </a:moveTo>
                <a:lnTo>
                  <a:pt x="250" y="703"/>
                </a:lnTo>
                <a:lnTo>
                  <a:pt x="250" y="635"/>
                </a:lnTo>
                <a:lnTo>
                  <a:pt x="295" y="613"/>
                </a:lnTo>
                <a:lnTo>
                  <a:pt x="295" y="545"/>
                </a:lnTo>
                <a:lnTo>
                  <a:pt x="341" y="499"/>
                </a:lnTo>
                <a:lnTo>
                  <a:pt x="363" y="522"/>
                </a:lnTo>
                <a:lnTo>
                  <a:pt x="386" y="477"/>
                </a:lnTo>
                <a:lnTo>
                  <a:pt x="522" y="545"/>
                </a:lnTo>
                <a:lnTo>
                  <a:pt x="522" y="499"/>
                </a:lnTo>
                <a:lnTo>
                  <a:pt x="522" y="477"/>
                </a:lnTo>
                <a:lnTo>
                  <a:pt x="499" y="431"/>
                </a:lnTo>
                <a:lnTo>
                  <a:pt x="522" y="386"/>
                </a:lnTo>
                <a:lnTo>
                  <a:pt x="499" y="363"/>
                </a:lnTo>
                <a:lnTo>
                  <a:pt x="545" y="340"/>
                </a:lnTo>
                <a:lnTo>
                  <a:pt x="545" y="295"/>
                </a:lnTo>
                <a:lnTo>
                  <a:pt x="499" y="295"/>
                </a:lnTo>
                <a:lnTo>
                  <a:pt x="454" y="250"/>
                </a:lnTo>
                <a:lnTo>
                  <a:pt x="454" y="227"/>
                </a:lnTo>
                <a:lnTo>
                  <a:pt x="522" y="159"/>
                </a:lnTo>
                <a:lnTo>
                  <a:pt x="613" y="159"/>
                </a:lnTo>
                <a:lnTo>
                  <a:pt x="613" y="114"/>
                </a:lnTo>
                <a:lnTo>
                  <a:pt x="567" y="91"/>
                </a:lnTo>
                <a:lnTo>
                  <a:pt x="590" y="23"/>
                </a:lnTo>
                <a:lnTo>
                  <a:pt x="545" y="0"/>
                </a:lnTo>
                <a:lnTo>
                  <a:pt x="477" y="46"/>
                </a:lnTo>
                <a:lnTo>
                  <a:pt x="386" y="68"/>
                </a:lnTo>
                <a:lnTo>
                  <a:pt x="386" y="23"/>
                </a:lnTo>
                <a:lnTo>
                  <a:pt x="341" y="23"/>
                </a:lnTo>
                <a:lnTo>
                  <a:pt x="272" y="68"/>
                </a:lnTo>
                <a:lnTo>
                  <a:pt x="250" y="136"/>
                </a:lnTo>
                <a:lnTo>
                  <a:pt x="159" y="204"/>
                </a:lnTo>
                <a:lnTo>
                  <a:pt x="182" y="250"/>
                </a:lnTo>
                <a:lnTo>
                  <a:pt x="136" y="295"/>
                </a:lnTo>
                <a:lnTo>
                  <a:pt x="136" y="363"/>
                </a:lnTo>
                <a:lnTo>
                  <a:pt x="91" y="408"/>
                </a:lnTo>
                <a:lnTo>
                  <a:pt x="23" y="408"/>
                </a:lnTo>
                <a:lnTo>
                  <a:pt x="0" y="454"/>
                </a:lnTo>
                <a:lnTo>
                  <a:pt x="46" y="477"/>
                </a:lnTo>
                <a:lnTo>
                  <a:pt x="46" y="545"/>
                </a:lnTo>
                <a:lnTo>
                  <a:pt x="91" y="613"/>
                </a:lnTo>
                <a:lnTo>
                  <a:pt x="46" y="658"/>
                </a:lnTo>
                <a:lnTo>
                  <a:pt x="23" y="726"/>
                </a:lnTo>
                <a:lnTo>
                  <a:pt x="91" y="749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3" name="Freeform 35"/>
          <p:cNvSpPr>
            <a:spLocks/>
          </p:cNvSpPr>
          <p:nvPr/>
        </p:nvSpPr>
        <p:spPr bwMode="auto">
          <a:xfrm>
            <a:off x="5433340" y="4586288"/>
            <a:ext cx="805012" cy="652462"/>
          </a:xfrm>
          <a:custGeom>
            <a:avLst/>
            <a:gdLst>
              <a:gd name="T0" fmla="*/ 301 w 590"/>
              <a:gd name="T1" fmla="*/ 411 h 590"/>
              <a:gd name="T2" fmla="*/ 317 w 590"/>
              <a:gd name="T3" fmla="*/ 364 h 590"/>
              <a:gd name="T4" fmla="*/ 348 w 590"/>
              <a:gd name="T5" fmla="*/ 332 h 590"/>
              <a:gd name="T6" fmla="*/ 317 w 590"/>
              <a:gd name="T7" fmla="*/ 285 h 590"/>
              <a:gd name="T8" fmla="*/ 317 w 590"/>
              <a:gd name="T9" fmla="*/ 238 h 590"/>
              <a:gd name="T10" fmla="*/ 285 w 590"/>
              <a:gd name="T11" fmla="*/ 222 h 590"/>
              <a:gd name="T12" fmla="*/ 301 w 590"/>
              <a:gd name="T13" fmla="*/ 189 h 590"/>
              <a:gd name="T14" fmla="*/ 348 w 590"/>
              <a:gd name="T15" fmla="*/ 189 h 590"/>
              <a:gd name="T16" fmla="*/ 380 w 590"/>
              <a:gd name="T17" fmla="*/ 158 h 590"/>
              <a:gd name="T18" fmla="*/ 380 w 590"/>
              <a:gd name="T19" fmla="*/ 111 h 590"/>
              <a:gd name="T20" fmla="*/ 412 w 590"/>
              <a:gd name="T21" fmla="*/ 79 h 590"/>
              <a:gd name="T22" fmla="*/ 396 w 590"/>
              <a:gd name="T23" fmla="*/ 47 h 590"/>
              <a:gd name="T24" fmla="*/ 348 w 590"/>
              <a:gd name="T25" fmla="*/ 16 h 590"/>
              <a:gd name="T26" fmla="*/ 301 w 590"/>
              <a:gd name="T27" fmla="*/ 16 h 590"/>
              <a:gd name="T28" fmla="*/ 253 w 590"/>
              <a:gd name="T29" fmla="*/ 32 h 590"/>
              <a:gd name="T30" fmla="*/ 206 w 590"/>
              <a:gd name="T31" fmla="*/ 0 h 590"/>
              <a:gd name="T32" fmla="*/ 190 w 590"/>
              <a:gd name="T33" fmla="*/ 32 h 590"/>
              <a:gd name="T34" fmla="*/ 206 w 590"/>
              <a:gd name="T35" fmla="*/ 47 h 590"/>
              <a:gd name="T36" fmla="*/ 159 w 590"/>
              <a:gd name="T37" fmla="*/ 95 h 590"/>
              <a:gd name="T38" fmla="*/ 142 w 590"/>
              <a:gd name="T39" fmla="*/ 127 h 590"/>
              <a:gd name="T40" fmla="*/ 175 w 590"/>
              <a:gd name="T41" fmla="*/ 174 h 590"/>
              <a:gd name="T42" fmla="*/ 142 w 590"/>
              <a:gd name="T43" fmla="*/ 189 h 590"/>
              <a:gd name="T44" fmla="*/ 95 w 590"/>
              <a:gd name="T45" fmla="*/ 174 h 590"/>
              <a:gd name="T46" fmla="*/ 64 w 590"/>
              <a:gd name="T47" fmla="*/ 174 h 590"/>
              <a:gd name="T48" fmla="*/ 31 w 590"/>
              <a:gd name="T49" fmla="*/ 158 h 590"/>
              <a:gd name="T50" fmla="*/ 16 w 590"/>
              <a:gd name="T51" fmla="*/ 189 h 590"/>
              <a:gd name="T52" fmla="*/ 16 w 590"/>
              <a:gd name="T53" fmla="*/ 238 h 590"/>
              <a:gd name="T54" fmla="*/ 31 w 590"/>
              <a:gd name="T55" fmla="*/ 285 h 590"/>
              <a:gd name="T56" fmla="*/ 0 w 590"/>
              <a:gd name="T57" fmla="*/ 316 h 590"/>
              <a:gd name="T58" fmla="*/ 0 w 590"/>
              <a:gd name="T59" fmla="*/ 348 h 590"/>
              <a:gd name="T60" fmla="*/ 47 w 590"/>
              <a:gd name="T61" fmla="*/ 332 h 590"/>
              <a:gd name="T62" fmla="*/ 64 w 590"/>
              <a:gd name="T63" fmla="*/ 380 h 590"/>
              <a:gd name="T64" fmla="*/ 95 w 590"/>
              <a:gd name="T65" fmla="*/ 332 h 590"/>
              <a:gd name="T66" fmla="*/ 175 w 590"/>
              <a:gd name="T67" fmla="*/ 316 h 590"/>
              <a:gd name="T68" fmla="*/ 190 w 590"/>
              <a:gd name="T69" fmla="*/ 364 h 590"/>
              <a:gd name="T70" fmla="*/ 222 w 590"/>
              <a:gd name="T71" fmla="*/ 380 h 590"/>
              <a:gd name="T72" fmla="*/ 237 w 590"/>
              <a:gd name="T73" fmla="*/ 364 h 590"/>
              <a:gd name="T74" fmla="*/ 270 w 590"/>
              <a:gd name="T75" fmla="*/ 411 h 590"/>
              <a:gd name="T76" fmla="*/ 285 w 590"/>
              <a:gd name="T77" fmla="*/ 395 h 590"/>
              <a:gd name="T78" fmla="*/ 301 w 590"/>
              <a:gd name="T79" fmla="*/ 411 h 59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590" h="590">
                <a:moveTo>
                  <a:pt x="431" y="590"/>
                </a:moveTo>
                <a:lnTo>
                  <a:pt x="454" y="522"/>
                </a:lnTo>
                <a:lnTo>
                  <a:pt x="499" y="477"/>
                </a:lnTo>
                <a:lnTo>
                  <a:pt x="454" y="409"/>
                </a:lnTo>
                <a:lnTo>
                  <a:pt x="454" y="341"/>
                </a:lnTo>
                <a:lnTo>
                  <a:pt x="408" y="318"/>
                </a:lnTo>
                <a:lnTo>
                  <a:pt x="431" y="272"/>
                </a:lnTo>
                <a:lnTo>
                  <a:pt x="499" y="272"/>
                </a:lnTo>
                <a:lnTo>
                  <a:pt x="544" y="227"/>
                </a:lnTo>
                <a:lnTo>
                  <a:pt x="544" y="159"/>
                </a:lnTo>
                <a:lnTo>
                  <a:pt x="590" y="114"/>
                </a:lnTo>
                <a:lnTo>
                  <a:pt x="567" y="68"/>
                </a:lnTo>
                <a:lnTo>
                  <a:pt x="499" y="23"/>
                </a:lnTo>
                <a:lnTo>
                  <a:pt x="431" y="23"/>
                </a:lnTo>
                <a:lnTo>
                  <a:pt x="363" y="46"/>
                </a:lnTo>
                <a:lnTo>
                  <a:pt x="295" y="0"/>
                </a:lnTo>
                <a:lnTo>
                  <a:pt x="272" y="46"/>
                </a:lnTo>
                <a:lnTo>
                  <a:pt x="295" y="68"/>
                </a:lnTo>
                <a:lnTo>
                  <a:pt x="227" y="136"/>
                </a:lnTo>
                <a:lnTo>
                  <a:pt x="204" y="182"/>
                </a:lnTo>
                <a:lnTo>
                  <a:pt x="250" y="250"/>
                </a:lnTo>
                <a:lnTo>
                  <a:pt x="204" y="272"/>
                </a:lnTo>
                <a:lnTo>
                  <a:pt x="136" y="250"/>
                </a:lnTo>
                <a:lnTo>
                  <a:pt x="91" y="250"/>
                </a:lnTo>
                <a:lnTo>
                  <a:pt x="45" y="227"/>
                </a:lnTo>
                <a:lnTo>
                  <a:pt x="23" y="272"/>
                </a:lnTo>
                <a:lnTo>
                  <a:pt x="23" y="341"/>
                </a:lnTo>
                <a:lnTo>
                  <a:pt x="45" y="409"/>
                </a:lnTo>
                <a:lnTo>
                  <a:pt x="0" y="454"/>
                </a:lnTo>
                <a:lnTo>
                  <a:pt x="0" y="499"/>
                </a:lnTo>
                <a:lnTo>
                  <a:pt x="68" y="477"/>
                </a:lnTo>
                <a:lnTo>
                  <a:pt x="91" y="545"/>
                </a:lnTo>
                <a:lnTo>
                  <a:pt x="136" y="477"/>
                </a:lnTo>
                <a:lnTo>
                  <a:pt x="250" y="454"/>
                </a:lnTo>
                <a:lnTo>
                  <a:pt x="272" y="522"/>
                </a:lnTo>
                <a:lnTo>
                  <a:pt x="318" y="545"/>
                </a:lnTo>
                <a:lnTo>
                  <a:pt x="340" y="522"/>
                </a:lnTo>
                <a:lnTo>
                  <a:pt x="386" y="590"/>
                </a:lnTo>
                <a:lnTo>
                  <a:pt x="408" y="567"/>
                </a:lnTo>
                <a:lnTo>
                  <a:pt x="431" y="590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4" name="Freeform 36"/>
          <p:cNvSpPr>
            <a:spLocks/>
          </p:cNvSpPr>
          <p:nvPr/>
        </p:nvSpPr>
        <p:spPr bwMode="auto">
          <a:xfrm>
            <a:off x="5558424" y="5089580"/>
            <a:ext cx="554911" cy="401637"/>
          </a:xfrm>
          <a:custGeom>
            <a:avLst/>
            <a:gdLst>
              <a:gd name="T0" fmla="*/ 47 w 408"/>
              <a:gd name="T1" fmla="*/ 253 h 363"/>
              <a:gd name="T2" fmla="*/ 173 w 408"/>
              <a:gd name="T3" fmla="*/ 253 h 363"/>
              <a:gd name="T4" fmla="*/ 189 w 408"/>
              <a:gd name="T5" fmla="*/ 206 h 363"/>
              <a:gd name="T6" fmla="*/ 221 w 408"/>
              <a:gd name="T7" fmla="*/ 206 h 363"/>
              <a:gd name="T8" fmla="*/ 237 w 408"/>
              <a:gd name="T9" fmla="*/ 174 h 363"/>
              <a:gd name="T10" fmla="*/ 284 w 408"/>
              <a:gd name="T11" fmla="*/ 142 h 363"/>
              <a:gd name="T12" fmla="*/ 284 w 408"/>
              <a:gd name="T13" fmla="*/ 111 h 363"/>
              <a:gd name="T14" fmla="*/ 237 w 408"/>
              <a:gd name="T15" fmla="*/ 95 h 363"/>
              <a:gd name="T16" fmla="*/ 221 w 408"/>
              <a:gd name="T17" fmla="*/ 79 h 363"/>
              <a:gd name="T18" fmla="*/ 205 w 408"/>
              <a:gd name="T19" fmla="*/ 95 h 363"/>
              <a:gd name="T20" fmla="*/ 173 w 408"/>
              <a:gd name="T21" fmla="*/ 47 h 363"/>
              <a:gd name="T22" fmla="*/ 158 w 408"/>
              <a:gd name="T23" fmla="*/ 63 h 363"/>
              <a:gd name="T24" fmla="*/ 126 w 408"/>
              <a:gd name="T25" fmla="*/ 47 h 363"/>
              <a:gd name="T26" fmla="*/ 111 w 408"/>
              <a:gd name="T27" fmla="*/ 0 h 363"/>
              <a:gd name="T28" fmla="*/ 31 w 408"/>
              <a:gd name="T29" fmla="*/ 16 h 363"/>
              <a:gd name="T30" fmla="*/ 0 w 408"/>
              <a:gd name="T31" fmla="*/ 63 h 363"/>
              <a:gd name="T32" fmla="*/ 15 w 408"/>
              <a:gd name="T33" fmla="*/ 63 h 363"/>
              <a:gd name="T34" fmla="*/ 31 w 408"/>
              <a:gd name="T35" fmla="*/ 95 h 363"/>
              <a:gd name="T36" fmla="*/ 63 w 408"/>
              <a:gd name="T37" fmla="*/ 95 h 363"/>
              <a:gd name="T38" fmla="*/ 31 w 408"/>
              <a:gd name="T39" fmla="*/ 126 h 363"/>
              <a:gd name="T40" fmla="*/ 31 w 408"/>
              <a:gd name="T41" fmla="*/ 174 h 363"/>
              <a:gd name="T42" fmla="*/ 15 w 408"/>
              <a:gd name="T43" fmla="*/ 190 h 363"/>
              <a:gd name="T44" fmla="*/ 47 w 408"/>
              <a:gd name="T45" fmla="*/ 221 h 363"/>
              <a:gd name="T46" fmla="*/ 47 w 408"/>
              <a:gd name="T47" fmla="*/ 206 h 363"/>
              <a:gd name="T48" fmla="*/ 31 w 408"/>
              <a:gd name="T49" fmla="*/ 190 h 363"/>
              <a:gd name="T50" fmla="*/ 47 w 408"/>
              <a:gd name="T51" fmla="*/ 158 h 363"/>
              <a:gd name="T52" fmla="*/ 63 w 408"/>
              <a:gd name="T53" fmla="*/ 158 h 363"/>
              <a:gd name="T54" fmla="*/ 63 w 408"/>
              <a:gd name="T55" fmla="*/ 190 h 363"/>
              <a:gd name="T56" fmla="*/ 79 w 408"/>
              <a:gd name="T57" fmla="*/ 190 h 363"/>
              <a:gd name="T58" fmla="*/ 111 w 408"/>
              <a:gd name="T59" fmla="*/ 206 h 363"/>
              <a:gd name="T60" fmla="*/ 126 w 408"/>
              <a:gd name="T61" fmla="*/ 190 h 363"/>
              <a:gd name="T62" fmla="*/ 142 w 408"/>
              <a:gd name="T63" fmla="*/ 206 h 363"/>
              <a:gd name="T64" fmla="*/ 142 w 408"/>
              <a:gd name="T65" fmla="*/ 237 h 363"/>
              <a:gd name="T66" fmla="*/ 111 w 408"/>
              <a:gd name="T67" fmla="*/ 237 h 363"/>
              <a:gd name="T68" fmla="*/ 72 w 408"/>
              <a:gd name="T69" fmla="*/ 235 h 363"/>
              <a:gd name="T70" fmla="*/ 47 w 408"/>
              <a:gd name="T71" fmla="*/ 253 h 36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408" h="363">
                <a:moveTo>
                  <a:pt x="68" y="363"/>
                </a:moveTo>
                <a:lnTo>
                  <a:pt x="249" y="363"/>
                </a:lnTo>
                <a:lnTo>
                  <a:pt x="272" y="295"/>
                </a:lnTo>
                <a:lnTo>
                  <a:pt x="317" y="295"/>
                </a:lnTo>
                <a:lnTo>
                  <a:pt x="340" y="249"/>
                </a:lnTo>
                <a:lnTo>
                  <a:pt x="408" y="204"/>
                </a:lnTo>
                <a:lnTo>
                  <a:pt x="408" y="159"/>
                </a:lnTo>
                <a:lnTo>
                  <a:pt x="340" y="136"/>
                </a:lnTo>
                <a:lnTo>
                  <a:pt x="317" y="113"/>
                </a:lnTo>
                <a:lnTo>
                  <a:pt x="295" y="136"/>
                </a:lnTo>
                <a:lnTo>
                  <a:pt x="249" y="68"/>
                </a:lnTo>
                <a:lnTo>
                  <a:pt x="227" y="91"/>
                </a:lnTo>
                <a:lnTo>
                  <a:pt x="181" y="68"/>
                </a:lnTo>
                <a:lnTo>
                  <a:pt x="159" y="0"/>
                </a:lnTo>
                <a:lnTo>
                  <a:pt x="45" y="23"/>
                </a:lnTo>
                <a:lnTo>
                  <a:pt x="0" y="91"/>
                </a:lnTo>
                <a:lnTo>
                  <a:pt x="22" y="91"/>
                </a:lnTo>
                <a:lnTo>
                  <a:pt x="45" y="136"/>
                </a:lnTo>
                <a:lnTo>
                  <a:pt x="91" y="136"/>
                </a:lnTo>
                <a:lnTo>
                  <a:pt x="45" y="181"/>
                </a:lnTo>
                <a:lnTo>
                  <a:pt x="45" y="249"/>
                </a:lnTo>
                <a:lnTo>
                  <a:pt x="22" y="272"/>
                </a:lnTo>
                <a:lnTo>
                  <a:pt x="68" y="317"/>
                </a:lnTo>
                <a:lnTo>
                  <a:pt x="68" y="295"/>
                </a:lnTo>
                <a:lnTo>
                  <a:pt x="45" y="272"/>
                </a:lnTo>
                <a:lnTo>
                  <a:pt x="68" y="227"/>
                </a:lnTo>
                <a:lnTo>
                  <a:pt x="91" y="227"/>
                </a:lnTo>
                <a:lnTo>
                  <a:pt x="91" y="272"/>
                </a:lnTo>
                <a:lnTo>
                  <a:pt x="113" y="272"/>
                </a:lnTo>
                <a:lnTo>
                  <a:pt x="159" y="295"/>
                </a:lnTo>
                <a:lnTo>
                  <a:pt x="181" y="272"/>
                </a:lnTo>
                <a:lnTo>
                  <a:pt x="204" y="295"/>
                </a:lnTo>
                <a:lnTo>
                  <a:pt x="204" y="340"/>
                </a:lnTo>
                <a:lnTo>
                  <a:pt x="159" y="340"/>
                </a:lnTo>
                <a:lnTo>
                  <a:pt x="103" y="337"/>
                </a:lnTo>
                <a:lnTo>
                  <a:pt x="68" y="363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5" name="Freeform 37"/>
          <p:cNvSpPr>
            <a:spLocks/>
          </p:cNvSpPr>
          <p:nvPr/>
        </p:nvSpPr>
        <p:spPr bwMode="auto">
          <a:xfrm>
            <a:off x="4972214" y="5114980"/>
            <a:ext cx="646744" cy="701675"/>
          </a:xfrm>
          <a:custGeom>
            <a:avLst/>
            <a:gdLst>
              <a:gd name="T0" fmla="*/ 236 w 476"/>
              <a:gd name="T1" fmla="*/ 15 h 635"/>
              <a:gd name="T2" fmla="*/ 284 w 476"/>
              <a:gd name="T3" fmla="*/ 0 h 635"/>
              <a:gd name="T4" fmla="*/ 300 w 476"/>
              <a:gd name="T5" fmla="*/ 47 h 635"/>
              <a:gd name="T6" fmla="*/ 315 w 476"/>
              <a:gd name="T7" fmla="*/ 47 h 635"/>
              <a:gd name="T8" fmla="*/ 331 w 476"/>
              <a:gd name="T9" fmla="*/ 79 h 635"/>
              <a:gd name="T10" fmla="*/ 284 w 476"/>
              <a:gd name="T11" fmla="*/ 95 h 635"/>
              <a:gd name="T12" fmla="*/ 268 w 476"/>
              <a:gd name="T13" fmla="*/ 126 h 635"/>
              <a:gd name="T14" fmla="*/ 220 w 476"/>
              <a:gd name="T15" fmla="*/ 157 h 635"/>
              <a:gd name="T16" fmla="*/ 236 w 476"/>
              <a:gd name="T17" fmla="*/ 189 h 635"/>
              <a:gd name="T18" fmla="*/ 220 w 476"/>
              <a:gd name="T19" fmla="*/ 205 h 635"/>
              <a:gd name="T20" fmla="*/ 252 w 476"/>
              <a:gd name="T21" fmla="*/ 221 h 635"/>
              <a:gd name="T22" fmla="*/ 284 w 476"/>
              <a:gd name="T23" fmla="*/ 252 h 635"/>
              <a:gd name="T24" fmla="*/ 315 w 476"/>
              <a:gd name="T25" fmla="*/ 284 h 635"/>
              <a:gd name="T26" fmla="*/ 284 w 476"/>
              <a:gd name="T27" fmla="*/ 299 h 635"/>
              <a:gd name="T28" fmla="*/ 284 w 476"/>
              <a:gd name="T29" fmla="*/ 315 h 635"/>
              <a:gd name="T30" fmla="*/ 268 w 476"/>
              <a:gd name="T31" fmla="*/ 299 h 635"/>
              <a:gd name="T32" fmla="*/ 236 w 476"/>
              <a:gd name="T33" fmla="*/ 299 h 635"/>
              <a:gd name="T34" fmla="*/ 220 w 476"/>
              <a:gd name="T35" fmla="*/ 299 h 635"/>
              <a:gd name="T36" fmla="*/ 142 w 476"/>
              <a:gd name="T37" fmla="*/ 299 h 635"/>
              <a:gd name="T38" fmla="*/ 126 w 476"/>
              <a:gd name="T39" fmla="*/ 331 h 635"/>
              <a:gd name="T40" fmla="*/ 111 w 476"/>
              <a:gd name="T41" fmla="*/ 331 h 635"/>
              <a:gd name="T42" fmla="*/ 95 w 476"/>
              <a:gd name="T43" fmla="*/ 347 h 635"/>
              <a:gd name="T44" fmla="*/ 111 w 476"/>
              <a:gd name="T45" fmla="*/ 363 h 635"/>
              <a:gd name="T46" fmla="*/ 95 w 476"/>
              <a:gd name="T47" fmla="*/ 379 h 635"/>
              <a:gd name="T48" fmla="*/ 47 w 476"/>
              <a:gd name="T49" fmla="*/ 395 h 635"/>
              <a:gd name="T50" fmla="*/ 31 w 476"/>
              <a:gd name="T51" fmla="*/ 442 h 635"/>
              <a:gd name="T52" fmla="*/ 0 w 476"/>
              <a:gd name="T53" fmla="*/ 395 h 635"/>
              <a:gd name="T54" fmla="*/ 16 w 476"/>
              <a:gd name="T55" fmla="*/ 363 h 635"/>
              <a:gd name="T56" fmla="*/ 47 w 476"/>
              <a:gd name="T57" fmla="*/ 363 h 635"/>
              <a:gd name="T58" fmla="*/ 79 w 476"/>
              <a:gd name="T59" fmla="*/ 347 h 635"/>
              <a:gd name="T60" fmla="*/ 111 w 476"/>
              <a:gd name="T61" fmla="*/ 221 h 635"/>
              <a:gd name="T62" fmla="*/ 142 w 476"/>
              <a:gd name="T63" fmla="*/ 205 h 635"/>
              <a:gd name="T64" fmla="*/ 111 w 476"/>
              <a:gd name="T65" fmla="*/ 189 h 635"/>
              <a:gd name="T66" fmla="*/ 126 w 476"/>
              <a:gd name="T67" fmla="*/ 157 h 635"/>
              <a:gd name="T68" fmla="*/ 111 w 476"/>
              <a:gd name="T69" fmla="*/ 126 h 635"/>
              <a:gd name="T70" fmla="*/ 126 w 476"/>
              <a:gd name="T71" fmla="*/ 95 h 635"/>
              <a:gd name="T72" fmla="*/ 142 w 476"/>
              <a:gd name="T73" fmla="*/ 79 h 635"/>
              <a:gd name="T74" fmla="*/ 189 w 476"/>
              <a:gd name="T75" fmla="*/ 110 h 635"/>
              <a:gd name="T76" fmla="*/ 236 w 476"/>
              <a:gd name="T77" fmla="*/ 79 h 635"/>
              <a:gd name="T78" fmla="*/ 236 w 476"/>
              <a:gd name="T79" fmla="*/ 47 h 635"/>
              <a:gd name="T80" fmla="*/ 252 w 476"/>
              <a:gd name="T81" fmla="*/ 31 h 635"/>
              <a:gd name="T82" fmla="*/ 236 w 476"/>
              <a:gd name="T83" fmla="*/ 15 h 63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76" h="635">
                <a:moveTo>
                  <a:pt x="340" y="22"/>
                </a:moveTo>
                <a:lnTo>
                  <a:pt x="408" y="0"/>
                </a:lnTo>
                <a:lnTo>
                  <a:pt x="431" y="68"/>
                </a:lnTo>
                <a:lnTo>
                  <a:pt x="453" y="68"/>
                </a:lnTo>
                <a:lnTo>
                  <a:pt x="476" y="113"/>
                </a:lnTo>
                <a:lnTo>
                  <a:pt x="408" y="136"/>
                </a:lnTo>
                <a:lnTo>
                  <a:pt x="385" y="181"/>
                </a:lnTo>
                <a:lnTo>
                  <a:pt x="317" y="226"/>
                </a:lnTo>
                <a:lnTo>
                  <a:pt x="340" y="272"/>
                </a:lnTo>
                <a:lnTo>
                  <a:pt x="317" y="294"/>
                </a:lnTo>
                <a:lnTo>
                  <a:pt x="363" y="317"/>
                </a:lnTo>
                <a:lnTo>
                  <a:pt x="408" y="362"/>
                </a:lnTo>
                <a:lnTo>
                  <a:pt x="453" y="408"/>
                </a:lnTo>
                <a:lnTo>
                  <a:pt x="408" y="430"/>
                </a:lnTo>
                <a:lnTo>
                  <a:pt x="408" y="453"/>
                </a:lnTo>
                <a:lnTo>
                  <a:pt x="385" y="430"/>
                </a:lnTo>
                <a:lnTo>
                  <a:pt x="340" y="430"/>
                </a:lnTo>
                <a:lnTo>
                  <a:pt x="317" y="430"/>
                </a:lnTo>
                <a:lnTo>
                  <a:pt x="204" y="430"/>
                </a:lnTo>
                <a:lnTo>
                  <a:pt x="181" y="476"/>
                </a:lnTo>
                <a:lnTo>
                  <a:pt x="159" y="476"/>
                </a:lnTo>
                <a:lnTo>
                  <a:pt x="136" y="499"/>
                </a:lnTo>
                <a:lnTo>
                  <a:pt x="159" y="521"/>
                </a:lnTo>
                <a:lnTo>
                  <a:pt x="136" y="544"/>
                </a:lnTo>
                <a:lnTo>
                  <a:pt x="68" y="567"/>
                </a:lnTo>
                <a:lnTo>
                  <a:pt x="45" y="635"/>
                </a:lnTo>
                <a:lnTo>
                  <a:pt x="0" y="567"/>
                </a:lnTo>
                <a:lnTo>
                  <a:pt x="23" y="521"/>
                </a:lnTo>
                <a:lnTo>
                  <a:pt x="68" y="521"/>
                </a:lnTo>
                <a:lnTo>
                  <a:pt x="113" y="499"/>
                </a:lnTo>
                <a:lnTo>
                  <a:pt x="159" y="317"/>
                </a:lnTo>
                <a:lnTo>
                  <a:pt x="204" y="294"/>
                </a:lnTo>
                <a:lnTo>
                  <a:pt x="159" y="272"/>
                </a:lnTo>
                <a:lnTo>
                  <a:pt x="181" y="226"/>
                </a:lnTo>
                <a:lnTo>
                  <a:pt x="159" y="181"/>
                </a:lnTo>
                <a:lnTo>
                  <a:pt x="181" y="136"/>
                </a:lnTo>
                <a:lnTo>
                  <a:pt x="204" y="113"/>
                </a:lnTo>
                <a:lnTo>
                  <a:pt x="272" y="158"/>
                </a:lnTo>
                <a:lnTo>
                  <a:pt x="340" y="113"/>
                </a:lnTo>
                <a:lnTo>
                  <a:pt x="340" y="68"/>
                </a:lnTo>
                <a:lnTo>
                  <a:pt x="363" y="45"/>
                </a:lnTo>
                <a:lnTo>
                  <a:pt x="340" y="22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6" name="Freeform 38"/>
          <p:cNvSpPr>
            <a:spLocks/>
          </p:cNvSpPr>
          <p:nvPr/>
        </p:nvSpPr>
        <p:spPr bwMode="auto">
          <a:xfrm>
            <a:off x="4847201" y="5264205"/>
            <a:ext cx="402505" cy="477837"/>
          </a:xfrm>
          <a:custGeom>
            <a:avLst/>
            <a:gdLst>
              <a:gd name="T0" fmla="*/ 175 w 295"/>
              <a:gd name="T1" fmla="*/ 31 h 431"/>
              <a:gd name="T2" fmla="*/ 190 w 295"/>
              <a:gd name="T3" fmla="*/ 63 h 431"/>
              <a:gd name="T4" fmla="*/ 175 w 295"/>
              <a:gd name="T5" fmla="*/ 95 h 431"/>
              <a:gd name="T6" fmla="*/ 206 w 295"/>
              <a:gd name="T7" fmla="*/ 110 h 431"/>
              <a:gd name="T8" fmla="*/ 175 w 295"/>
              <a:gd name="T9" fmla="*/ 126 h 431"/>
              <a:gd name="T10" fmla="*/ 142 w 295"/>
              <a:gd name="T11" fmla="*/ 254 h 431"/>
              <a:gd name="T12" fmla="*/ 111 w 295"/>
              <a:gd name="T13" fmla="*/ 269 h 431"/>
              <a:gd name="T14" fmla="*/ 80 w 295"/>
              <a:gd name="T15" fmla="*/ 269 h 431"/>
              <a:gd name="T16" fmla="*/ 64 w 295"/>
              <a:gd name="T17" fmla="*/ 301 h 431"/>
              <a:gd name="T18" fmla="*/ 0 w 295"/>
              <a:gd name="T19" fmla="*/ 254 h 431"/>
              <a:gd name="T20" fmla="*/ 0 w 295"/>
              <a:gd name="T21" fmla="*/ 205 h 431"/>
              <a:gd name="T22" fmla="*/ 32 w 295"/>
              <a:gd name="T23" fmla="*/ 174 h 431"/>
              <a:gd name="T24" fmla="*/ 64 w 295"/>
              <a:gd name="T25" fmla="*/ 174 h 431"/>
              <a:gd name="T26" fmla="*/ 47 w 295"/>
              <a:gd name="T27" fmla="*/ 110 h 431"/>
              <a:gd name="T28" fmla="*/ 80 w 295"/>
              <a:gd name="T29" fmla="*/ 63 h 431"/>
              <a:gd name="T30" fmla="*/ 80 w 295"/>
              <a:gd name="T31" fmla="*/ 31 h 431"/>
              <a:gd name="T32" fmla="*/ 111 w 295"/>
              <a:gd name="T33" fmla="*/ 0 h 431"/>
              <a:gd name="T34" fmla="*/ 111 w 295"/>
              <a:gd name="T35" fmla="*/ 31 h 431"/>
              <a:gd name="T36" fmla="*/ 175 w 295"/>
              <a:gd name="T37" fmla="*/ 31 h 43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295" h="431">
                <a:moveTo>
                  <a:pt x="250" y="45"/>
                </a:moveTo>
                <a:lnTo>
                  <a:pt x="272" y="90"/>
                </a:lnTo>
                <a:lnTo>
                  <a:pt x="250" y="136"/>
                </a:lnTo>
                <a:lnTo>
                  <a:pt x="295" y="158"/>
                </a:lnTo>
                <a:lnTo>
                  <a:pt x="250" y="181"/>
                </a:lnTo>
                <a:lnTo>
                  <a:pt x="204" y="363"/>
                </a:lnTo>
                <a:lnTo>
                  <a:pt x="159" y="385"/>
                </a:lnTo>
                <a:lnTo>
                  <a:pt x="114" y="385"/>
                </a:lnTo>
                <a:lnTo>
                  <a:pt x="91" y="431"/>
                </a:lnTo>
                <a:lnTo>
                  <a:pt x="0" y="363"/>
                </a:lnTo>
                <a:lnTo>
                  <a:pt x="0" y="294"/>
                </a:lnTo>
                <a:lnTo>
                  <a:pt x="46" y="249"/>
                </a:lnTo>
                <a:lnTo>
                  <a:pt x="91" y="249"/>
                </a:lnTo>
                <a:lnTo>
                  <a:pt x="68" y="158"/>
                </a:lnTo>
                <a:lnTo>
                  <a:pt x="114" y="90"/>
                </a:lnTo>
                <a:lnTo>
                  <a:pt x="114" y="45"/>
                </a:lnTo>
                <a:lnTo>
                  <a:pt x="159" y="0"/>
                </a:lnTo>
                <a:lnTo>
                  <a:pt x="159" y="45"/>
                </a:lnTo>
                <a:lnTo>
                  <a:pt x="250" y="45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7" name="Freeform 39"/>
          <p:cNvSpPr>
            <a:spLocks/>
          </p:cNvSpPr>
          <p:nvPr/>
        </p:nvSpPr>
        <p:spPr bwMode="auto">
          <a:xfrm>
            <a:off x="5032822" y="4586343"/>
            <a:ext cx="742487" cy="401637"/>
          </a:xfrm>
          <a:custGeom>
            <a:avLst/>
            <a:gdLst>
              <a:gd name="T0" fmla="*/ 222 w 545"/>
              <a:gd name="T1" fmla="*/ 190 h 363"/>
              <a:gd name="T2" fmla="*/ 237 w 545"/>
              <a:gd name="T3" fmla="*/ 158 h 363"/>
              <a:gd name="T4" fmla="*/ 269 w 545"/>
              <a:gd name="T5" fmla="*/ 174 h 363"/>
              <a:gd name="T6" fmla="*/ 301 w 545"/>
              <a:gd name="T7" fmla="*/ 174 h 363"/>
              <a:gd name="T8" fmla="*/ 348 w 545"/>
              <a:gd name="T9" fmla="*/ 190 h 363"/>
              <a:gd name="T10" fmla="*/ 380 w 545"/>
              <a:gd name="T11" fmla="*/ 174 h 363"/>
              <a:gd name="T12" fmla="*/ 348 w 545"/>
              <a:gd name="T13" fmla="*/ 127 h 363"/>
              <a:gd name="T14" fmla="*/ 364 w 545"/>
              <a:gd name="T15" fmla="*/ 95 h 363"/>
              <a:gd name="T16" fmla="*/ 333 w 545"/>
              <a:gd name="T17" fmla="*/ 95 h 363"/>
              <a:gd name="T18" fmla="*/ 333 w 545"/>
              <a:gd name="T19" fmla="*/ 63 h 363"/>
              <a:gd name="T20" fmla="*/ 284 w 545"/>
              <a:gd name="T21" fmla="*/ 47 h 363"/>
              <a:gd name="T22" fmla="*/ 253 w 545"/>
              <a:gd name="T23" fmla="*/ 0 h 363"/>
              <a:gd name="T24" fmla="*/ 237 w 545"/>
              <a:gd name="T25" fmla="*/ 0 h 363"/>
              <a:gd name="T26" fmla="*/ 222 w 545"/>
              <a:gd name="T27" fmla="*/ 32 h 363"/>
              <a:gd name="T28" fmla="*/ 190 w 545"/>
              <a:gd name="T29" fmla="*/ 47 h 363"/>
              <a:gd name="T30" fmla="*/ 158 w 545"/>
              <a:gd name="T31" fmla="*/ 79 h 363"/>
              <a:gd name="T32" fmla="*/ 174 w 545"/>
              <a:gd name="T33" fmla="*/ 95 h 363"/>
              <a:gd name="T34" fmla="*/ 190 w 545"/>
              <a:gd name="T35" fmla="*/ 142 h 363"/>
              <a:gd name="T36" fmla="*/ 174 w 545"/>
              <a:gd name="T37" fmla="*/ 174 h 363"/>
              <a:gd name="T38" fmla="*/ 158 w 545"/>
              <a:gd name="T39" fmla="*/ 190 h 363"/>
              <a:gd name="T40" fmla="*/ 158 w 545"/>
              <a:gd name="T41" fmla="*/ 158 h 363"/>
              <a:gd name="T42" fmla="*/ 142 w 545"/>
              <a:gd name="T43" fmla="*/ 190 h 363"/>
              <a:gd name="T44" fmla="*/ 111 w 545"/>
              <a:gd name="T45" fmla="*/ 190 h 363"/>
              <a:gd name="T46" fmla="*/ 95 w 545"/>
              <a:gd name="T47" fmla="*/ 206 h 363"/>
              <a:gd name="T48" fmla="*/ 79 w 545"/>
              <a:gd name="T49" fmla="*/ 206 h 363"/>
              <a:gd name="T50" fmla="*/ 63 w 545"/>
              <a:gd name="T51" fmla="*/ 222 h 363"/>
              <a:gd name="T52" fmla="*/ 32 w 545"/>
              <a:gd name="T53" fmla="*/ 206 h 363"/>
              <a:gd name="T54" fmla="*/ 0 w 545"/>
              <a:gd name="T55" fmla="*/ 174 h 363"/>
              <a:gd name="T56" fmla="*/ 0 w 545"/>
              <a:gd name="T57" fmla="*/ 238 h 363"/>
              <a:gd name="T58" fmla="*/ 63 w 545"/>
              <a:gd name="T59" fmla="*/ 253 h 363"/>
              <a:gd name="T60" fmla="*/ 95 w 545"/>
              <a:gd name="T61" fmla="*/ 253 h 363"/>
              <a:gd name="T62" fmla="*/ 127 w 545"/>
              <a:gd name="T63" fmla="*/ 222 h 363"/>
              <a:gd name="T64" fmla="*/ 174 w 545"/>
              <a:gd name="T65" fmla="*/ 222 h 363"/>
              <a:gd name="T66" fmla="*/ 206 w 545"/>
              <a:gd name="T67" fmla="*/ 190 h 363"/>
              <a:gd name="T68" fmla="*/ 222 w 545"/>
              <a:gd name="T69" fmla="*/ 190 h 363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545" h="363">
                <a:moveTo>
                  <a:pt x="318" y="272"/>
                </a:moveTo>
                <a:lnTo>
                  <a:pt x="340" y="227"/>
                </a:lnTo>
                <a:lnTo>
                  <a:pt x="386" y="250"/>
                </a:lnTo>
                <a:lnTo>
                  <a:pt x="431" y="250"/>
                </a:lnTo>
                <a:lnTo>
                  <a:pt x="499" y="272"/>
                </a:lnTo>
                <a:lnTo>
                  <a:pt x="545" y="250"/>
                </a:lnTo>
                <a:lnTo>
                  <a:pt x="499" y="182"/>
                </a:lnTo>
                <a:lnTo>
                  <a:pt x="522" y="136"/>
                </a:lnTo>
                <a:lnTo>
                  <a:pt x="477" y="136"/>
                </a:lnTo>
                <a:lnTo>
                  <a:pt x="477" y="91"/>
                </a:lnTo>
                <a:lnTo>
                  <a:pt x="408" y="68"/>
                </a:lnTo>
                <a:lnTo>
                  <a:pt x="363" y="0"/>
                </a:lnTo>
                <a:lnTo>
                  <a:pt x="340" y="0"/>
                </a:lnTo>
                <a:lnTo>
                  <a:pt x="318" y="46"/>
                </a:lnTo>
                <a:lnTo>
                  <a:pt x="272" y="68"/>
                </a:lnTo>
                <a:lnTo>
                  <a:pt x="227" y="114"/>
                </a:lnTo>
                <a:lnTo>
                  <a:pt x="250" y="136"/>
                </a:lnTo>
                <a:lnTo>
                  <a:pt x="272" y="204"/>
                </a:lnTo>
                <a:lnTo>
                  <a:pt x="250" y="250"/>
                </a:lnTo>
                <a:lnTo>
                  <a:pt x="227" y="272"/>
                </a:lnTo>
                <a:lnTo>
                  <a:pt x="227" y="227"/>
                </a:lnTo>
                <a:lnTo>
                  <a:pt x="204" y="272"/>
                </a:lnTo>
                <a:lnTo>
                  <a:pt x="159" y="272"/>
                </a:lnTo>
                <a:lnTo>
                  <a:pt x="136" y="295"/>
                </a:lnTo>
                <a:lnTo>
                  <a:pt x="114" y="295"/>
                </a:lnTo>
                <a:lnTo>
                  <a:pt x="91" y="318"/>
                </a:lnTo>
                <a:lnTo>
                  <a:pt x="46" y="295"/>
                </a:lnTo>
                <a:lnTo>
                  <a:pt x="0" y="250"/>
                </a:lnTo>
                <a:lnTo>
                  <a:pt x="0" y="341"/>
                </a:lnTo>
                <a:lnTo>
                  <a:pt x="91" y="363"/>
                </a:lnTo>
                <a:lnTo>
                  <a:pt x="136" y="363"/>
                </a:lnTo>
                <a:lnTo>
                  <a:pt x="182" y="318"/>
                </a:lnTo>
                <a:lnTo>
                  <a:pt x="250" y="318"/>
                </a:lnTo>
                <a:lnTo>
                  <a:pt x="295" y="272"/>
                </a:lnTo>
                <a:lnTo>
                  <a:pt x="318" y="272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8" name="Freeform 40"/>
          <p:cNvSpPr>
            <a:spLocks/>
          </p:cNvSpPr>
          <p:nvPr/>
        </p:nvSpPr>
        <p:spPr bwMode="auto">
          <a:xfrm>
            <a:off x="5124657" y="4887968"/>
            <a:ext cx="377105" cy="401637"/>
          </a:xfrm>
          <a:custGeom>
            <a:avLst/>
            <a:gdLst>
              <a:gd name="T0" fmla="*/ 16 w 272"/>
              <a:gd name="T1" fmla="*/ 63 h 363"/>
              <a:gd name="T2" fmla="*/ 48 w 272"/>
              <a:gd name="T3" fmla="*/ 63 h 363"/>
              <a:gd name="T4" fmla="*/ 81 w 272"/>
              <a:gd name="T5" fmla="*/ 32 h 363"/>
              <a:gd name="T6" fmla="*/ 129 w 272"/>
              <a:gd name="T7" fmla="*/ 32 h 363"/>
              <a:gd name="T8" fmla="*/ 161 w 272"/>
              <a:gd name="T9" fmla="*/ 0 h 363"/>
              <a:gd name="T10" fmla="*/ 177 w 272"/>
              <a:gd name="T11" fmla="*/ 0 h 363"/>
              <a:gd name="T12" fmla="*/ 177 w 272"/>
              <a:gd name="T13" fmla="*/ 48 h 363"/>
              <a:gd name="T14" fmla="*/ 193 w 272"/>
              <a:gd name="T15" fmla="*/ 95 h 363"/>
              <a:gd name="T16" fmla="*/ 161 w 272"/>
              <a:gd name="T17" fmla="*/ 127 h 363"/>
              <a:gd name="T18" fmla="*/ 161 w 272"/>
              <a:gd name="T19" fmla="*/ 158 h 363"/>
              <a:gd name="T20" fmla="*/ 177 w 272"/>
              <a:gd name="T21" fmla="*/ 174 h 363"/>
              <a:gd name="T22" fmla="*/ 161 w 272"/>
              <a:gd name="T23" fmla="*/ 190 h 363"/>
              <a:gd name="T24" fmla="*/ 161 w 272"/>
              <a:gd name="T25" fmla="*/ 222 h 363"/>
              <a:gd name="T26" fmla="*/ 113 w 272"/>
              <a:gd name="T27" fmla="*/ 253 h 363"/>
              <a:gd name="T28" fmla="*/ 65 w 272"/>
              <a:gd name="T29" fmla="*/ 222 h 363"/>
              <a:gd name="T30" fmla="*/ 48 w 272"/>
              <a:gd name="T31" fmla="*/ 238 h 363"/>
              <a:gd name="T32" fmla="*/ 16 w 272"/>
              <a:gd name="T33" fmla="*/ 222 h 363"/>
              <a:gd name="T34" fmla="*/ 0 w 272"/>
              <a:gd name="T35" fmla="*/ 158 h 363"/>
              <a:gd name="T36" fmla="*/ 33 w 272"/>
              <a:gd name="T37" fmla="*/ 127 h 363"/>
              <a:gd name="T38" fmla="*/ 33 w 272"/>
              <a:gd name="T39" fmla="*/ 95 h 363"/>
              <a:gd name="T40" fmla="*/ 16 w 272"/>
              <a:gd name="T41" fmla="*/ 63 h 36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72" h="363">
                <a:moveTo>
                  <a:pt x="23" y="91"/>
                </a:moveTo>
                <a:lnTo>
                  <a:pt x="68" y="91"/>
                </a:lnTo>
                <a:lnTo>
                  <a:pt x="114" y="46"/>
                </a:lnTo>
                <a:lnTo>
                  <a:pt x="182" y="46"/>
                </a:lnTo>
                <a:lnTo>
                  <a:pt x="227" y="0"/>
                </a:lnTo>
                <a:lnTo>
                  <a:pt x="250" y="0"/>
                </a:lnTo>
                <a:lnTo>
                  <a:pt x="250" y="69"/>
                </a:lnTo>
                <a:lnTo>
                  <a:pt x="272" y="137"/>
                </a:lnTo>
                <a:lnTo>
                  <a:pt x="227" y="182"/>
                </a:lnTo>
                <a:lnTo>
                  <a:pt x="227" y="227"/>
                </a:lnTo>
                <a:lnTo>
                  <a:pt x="250" y="250"/>
                </a:lnTo>
                <a:lnTo>
                  <a:pt x="227" y="273"/>
                </a:lnTo>
                <a:lnTo>
                  <a:pt x="227" y="318"/>
                </a:lnTo>
                <a:lnTo>
                  <a:pt x="159" y="363"/>
                </a:lnTo>
                <a:lnTo>
                  <a:pt x="91" y="318"/>
                </a:lnTo>
                <a:lnTo>
                  <a:pt x="68" y="341"/>
                </a:lnTo>
                <a:lnTo>
                  <a:pt x="23" y="318"/>
                </a:lnTo>
                <a:lnTo>
                  <a:pt x="0" y="227"/>
                </a:lnTo>
                <a:lnTo>
                  <a:pt x="46" y="182"/>
                </a:lnTo>
                <a:lnTo>
                  <a:pt x="46" y="137"/>
                </a:lnTo>
                <a:lnTo>
                  <a:pt x="23" y="91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29" name="Freeform 41"/>
          <p:cNvSpPr>
            <a:spLocks/>
          </p:cNvSpPr>
          <p:nvPr/>
        </p:nvSpPr>
        <p:spPr bwMode="auto">
          <a:xfrm>
            <a:off x="4601008" y="5440418"/>
            <a:ext cx="431815" cy="452437"/>
          </a:xfrm>
          <a:custGeom>
            <a:avLst/>
            <a:gdLst>
              <a:gd name="T0" fmla="*/ 174 w 317"/>
              <a:gd name="T1" fmla="*/ 0 h 409"/>
              <a:gd name="T2" fmla="*/ 190 w 317"/>
              <a:gd name="T3" fmla="*/ 63 h 409"/>
              <a:gd name="T4" fmla="*/ 158 w 317"/>
              <a:gd name="T5" fmla="*/ 63 h 409"/>
              <a:gd name="T6" fmla="*/ 126 w 317"/>
              <a:gd name="T7" fmla="*/ 95 h 409"/>
              <a:gd name="T8" fmla="*/ 126 w 317"/>
              <a:gd name="T9" fmla="*/ 143 h 409"/>
              <a:gd name="T10" fmla="*/ 190 w 317"/>
              <a:gd name="T11" fmla="*/ 190 h 409"/>
              <a:gd name="T12" fmla="*/ 221 w 317"/>
              <a:gd name="T13" fmla="*/ 238 h 409"/>
              <a:gd name="T14" fmla="*/ 190 w 317"/>
              <a:gd name="T15" fmla="*/ 253 h 409"/>
              <a:gd name="T16" fmla="*/ 174 w 317"/>
              <a:gd name="T17" fmla="*/ 269 h 409"/>
              <a:gd name="T18" fmla="*/ 142 w 317"/>
              <a:gd name="T19" fmla="*/ 285 h 409"/>
              <a:gd name="T20" fmla="*/ 95 w 317"/>
              <a:gd name="T21" fmla="*/ 269 h 409"/>
              <a:gd name="T22" fmla="*/ 63 w 317"/>
              <a:gd name="T23" fmla="*/ 222 h 409"/>
              <a:gd name="T24" fmla="*/ 63 w 317"/>
              <a:gd name="T25" fmla="*/ 190 h 409"/>
              <a:gd name="T26" fmla="*/ 31 w 317"/>
              <a:gd name="T27" fmla="*/ 158 h 409"/>
              <a:gd name="T28" fmla="*/ 31 w 317"/>
              <a:gd name="T29" fmla="*/ 127 h 409"/>
              <a:gd name="T30" fmla="*/ 0 w 317"/>
              <a:gd name="T31" fmla="*/ 111 h 409"/>
              <a:gd name="T32" fmla="*/ 15 w 317"/>
              <a:gd name="T33" fmla="*/ 95 h 409"/>
              <a:gd name="T34" fmla="*/ 31 w 317"/>
              <a:gd name="T35" fmla="*/ 79 h 409"/>
              <a:gd name="T36" fmla="*/ 31 w 317"/>
              <a:gd name="T37" fmla="*/ 63 h 409"/>
              <a:gd name="T38" fmla="*/ 63 w 317"/>
              <a:gd name="T39" fmla="*/ 47 h 409"/>
              <a:gd name="T40" fmla="*/ 47 w 317"/>
              <a:gd name="T41" fmla="*/ 32 h 409"/>
              <a:gd name="T42" fmla="*/ 31 w 317"/>
              <a:gd name="T43" fmla="*/ 0 h 409"/>
              <a:gd name="T44" fmla="*/ 79 w 317"/>
              <a:gd name="T45" fmla="*/ 0 h 409"/>
              <a:gd name="T46" fmla="*/ 174 w 317"/>
              <a:gd name="T47" fmla="*/ 0 h 40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317" h="409">
                <a:moveTo>
                  <a:pt x="249" y="0"/>
                </a:moveTo>
                <a:lnTo>
                  <a:pt x="272" y="91"/>
                </a:lnTo>
                <a:lnTo>
                  <a:pt x="227" y="91"/>
                </a:lnTo>
                <a:lnTo>
                  <a:pt x="181" y="136"/>
                </a:lnTo>
                <a:lnTo>
                  <a:pt x="181" y="205"/>
                </a:lnTo>
                <a:lnTo>
                  <a:pt x="272" y="273"/>
                </a:lnTo>
                <a:lnTo>
                  <a:pt x="317" y="341"/>
                </a:lnTo>
                <a:lnTo>
                  <a:pt x="272" y="363"/>
                </a:lnTo>
                <a:lnTo>
                  <a:pt x="249" y="386"/>
                </a:lnTo>
                <a:lnTo>
                  <a:pt x="204" y="409"/>
                </a:lnTo>
                <a:lnTo>
                  <a:pt x="136" y="386"/>
                </a:lnTo>
                <a:lnTo>
                  <a:pt x="90" y="318"/>
                </a:lnTo>
                <a:lnTo>
                  <a:pt x="90" y="273"/>
                </a:lnTo>
                <a:lnTo>
                  <a:pt x="45" y="227"/>
                </a:lnTo>
                <a:lnTo>
                  <a:pt x="45" y="182"/>
                </a:lnTo>
                <a:lnTo>
                  <a:pt x="0" y="159"/>
                </a:lnTo>
                <a:lnTo>
                  <a:pt x="22" y="136"/>
                </a:lnTo>
                <a:lnTo>
                  <a:pt x="45" y="114"/>
                </a:lnTo>
                <a:lnTo>
                  <a:pt x="45" y="91"/>
                </a:lnTo>
                <a:lnTo>
                  <a:pt x="90" y="68"/>
                </a:lnTo>
                <a:lnTo>
                  <a:pt x="68" y="46"/>
                </a:lnTo>
                <a:lnTo>
                  <a:pt x="45" y="0"/>
                </a:lnTo>
                <a:lnTo>
                  <a:pt x="113" y="0"/>
                </a:lnTo>
                <a:lnTo>
                  <a:pt x="249" y="0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0" name="Freeform 42"/>
          <p:cNvSpPr>
            <a:spLocks/>
          </p:cNvSpPr>
          <p:nvPr/>
        </p:nvSpPr>
        <p:spPr bwMode="auto">
          <a:xfrm>
            <a:off x="4670366" y="5138737"/>
            <a:ext cx="406413" cy="301625"/>
          </a:xfrm>
          <a:custGeom>
            <a:avLst/>
            <a:gdLst>
              <a:gd name="T0" fmla="*/ 0 w 295"/>
              <a:gd name="T1" fmla="*/ 190 h 272"/>
              <a:gd name="T2" fmla="*/ 144 w 295"/>
              <a:gd name="T3" fmla="*/ 190 h 272"/>
              <a:gd name="T4" fmla="*/ 176 w 295"/>
              <a:gd name="T5" fmla="*/ 143 h 272"/>
              <a:gd name="T6" fmla="*/ 176 w 295"/>
              <a:gd name="T7" fmla="*/ 111 h 272"/>
              <a:gd name="T8" fmla="*/ 208 w 295"/>
              <a:gd name="T9" fmla="*/ 80 h 272"/>
              <a:gd name="T10" fmla="*/ 192 w 295"/>
              <a:gd name="T11" fmla="*/ 32 h 272"/>
              <a:gd name="T12" fmla="*/ 160 w 295"/>
              <a:gd name="T13" fmla="*/ 0 h 272"/>
              <a:gd name="T14" fmla="*/ 128 w 295"/>
              <a:gd name="T15" fmla="*/ 32 h 272"/>
              <a:gd name="T16" fmla="*/ 112 w 295"/>
              <a:gd name="T17" fmla="*/ 95 h 272"/>
              <a:gd name="T18" fmla="*/ 112 w 295"/>
              <a:gd name="T19" fmla="*/ 127 h 272"/>
              <a:gd name="T20" fmla="*/ 80 w 295"/>
              <a:gd name="T21" fmla="*/ 159 h 272"/>
              <a:gd name="T22" fmla="*/ 0 w 295"/>
              <a:gd name="T23" fmla="*/ 190 h 27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95" h="272">
                <a:moveTo>
                  <a:pt x="0" y="272"/>
                </a:moveTo>
                <a:lnTo>
                  <a:pt x="204" y="272"/>
                </a:lnTo>
                <a:lnTo>
                  <a:pt x="250" y="204"/>
                </a:lnTo>
                <a:lnTo>
                  <a:pt x="250" y="159"/>
                </a:lnTo>
                <a:lnTo>
                  <a:pt x="295" y="114"/>
                </a:lnTo>
                <a:lnTo>
                  <a:pt x="272" y="46"/>
                </a:lnTo>
                <a:lnTo>
                  <a:pt x="227" y="0"/>
                </a:lnTo>
                <a:lnTo>
                  <a:pt x="182" y="46"/>
                </a:lnTo>
                <a:lnTo>
                  <a:pt x="159" y="136"/>
                </a:lnTo>
                <a:lnTo>
                  <a:pt x="159" y="182"/>
                </a:lnTo>
                <a:lnTo>
                  <a:pt x="114" y="227"/>
                </a:lnTo>
                <a:lnTo>
                  <a:pt x="0" y="272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1" name="Freeform 43"/>
          <p:cNvSpPr>
            <a:spLocks/>
          </p:cNvSpPr>
          <p:nvPr/>
        </p:nvSpPr>
        <p:spPr bwMode="auto">
          <a:xfrm>
            <a:off x="4724068" y="4737100"/>
            <a:ext cx="494340" cy="577850"/>
          </a:xfrm>
          <a:custGeom>
            <a:avLst/>
            <a:gdLst>
              <a:gd name="T0" fmla="*/ 158 w 363"/>
              <a:gd name="T1" fmla="*/ 79 h 522"/>
              <a:gd name="T2" fmla="*/ 143 w 363"/>
              <a:gd name="T3" fmla="*/ 79 h 522"/>
              <a:gd name="T4" fmla="*/ 143 w 363"/>
              <a:gd name="T5" fmla="*/ 95 h 522"/>
              <a:gd name="T6" fmla="*/ 111 w 363"/>
              <a:gd name="T7" fmla="*/ 95 h 522"/>
              <a:gd name="T8" fmla="*/ 111 w 363"/>
              <a:gd name="T9" fmla="*/ 79 h 522"/>
              <a:gd name="T10" fmla="*/ 95 w 363"/>
              <a:gd name="T11" fmla="*/ 63 h 522"/>
              <a:gd name="T12" fmla="*/ 111 w 363"/>
              <a:gd name="T13" fmla="*/ 47 h 522"/>
              <a:gd name="T14" fmla="*/ 127 w 363"/>
              <a:gd name="T15" fmla="*/ 32 h 522"/>
              <a:gd name="T16" fmla="*/ 111 w 363"/>
              <a:gd name="T17" fmla="*/ 0 h 522"/>
              <a:gd name="T18" fmla="*/ 48 w 363"/>
              <a:gd name="T19" fmla="*/ 16 h 522"/>
              <a:gd name="T20" fmla="*/ 32 w 363"/>
              <a:gd name="T21" fmla="*/ 16 h 522"/>
              <a:gd name="T22" fmla="*/ 32 w 363"/>
              <a:gd name="T23" fmla="*/ 63 h 522"/>
              <a:gd name="T24" fmla="*/ 63 w 363"/>
              <a:gd name="T25" fmla="*/ 63 h 522"/>
              <a:gd name="T26" fmla="*/ 48 w 363"/>
              <a:gd name="T27" fmla="*/ 95 h 522"/>
              <a:gd name="T28" fmla="*/ 0 w 363"/>
              <a:gd name="T29" fmla="*/ 95 h 522"/>
              <a:gd name="T30" fmla="*/ 0 w 363"/>
              <a:gd name="T31" fmla="*/ 127 h 522"/>
              <a:gd name="T32" fmla="*/ 48 w 363"/>
              <a:gd name="T33" fmla="*/ 143 h 522"/>
              <a:gd name="T34" fmla="*/ 63 w 363"/>
              <a:gd name="T35" fmla="*/ 174 h 522"/>
              <a:gd name="T36" fmla="*/ 63 w 363"/>
              <a:gd name="T37" fmla="*/ 222 h 522"/>
              <a:gd name="T38" fmla="*/ 127 w 363"/>
              <a:gd name="T39" fmla="*/ 253 h 522"/>
              <a:gd name="T40" fmla="*/ 158 w 363"/>
              <a:gd name="T41" fmla="*/ 285 h 522"/>
              <a:gd name="T42" fmla="*/ 174 w 363"/>
              <a:gd name="T43" fmla="*/ 333 h 522"/>
              <a:gd name="T44" fmla="*/ 174 w 363"/>
              <a:gd name="T45" fmla="*/ 364 h 522"/>
              <a:gd name="T46" fmla="*/ 238 w 363"/>
              <a:gd name="T47" fmla="*/ 364 h 522"/>
              <a:gd name="T48" fmla="*/ 253 w 363"/>
              <a:gd name="T49" fmla="*/ 333 h 522"/>
              <a:gd name="T50" fmla="*/ 222 w 363"/>
              <a:gd name="T51" fmla="*/ 317 h 522"/>
              <a:gd name="T52" fmla="*/ 206 w 363"/>
              <a:gd name="T53" fmla="*/ 253 h 522"/>
              <a:gd name="T54" fmla="*/ 238 w 363"/>
              <a:gd name="T55" fmla="*/ 222 h 522"/>
              <a:gd name="T56" fmla="*/ 238 w 363"/>
              <a:gd name="T57" fmla="*/ 190 h 522"/>
              <a:gd name="T58" fmla="*/ 222 w 363"/>
              <a:gd name="T59" fmla="*/ 158 h 522"/>
              <a:gd name="T60" fmla="*/ 158 w 363"/>
              <a:gd name="T61" fmla="*/ 143 h 522"/>
              <a:gd name="T62" fmla="*/ 158 w 363"/>
              <a:gd name="T63" fmla="*/ 79 h 52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63" h="522">
                <a:moveTo>
                  <a:pt x="227" y="114"/>
                </a:moveTo>
                <a:lnTo>
                  <a:pt x="205" y="114"/>
                </a:lnTo>
                <a:lnTo>
                  <a:pt x="205" y="136"/>
                </a:lnTo>
                <a:lnTo>
                  <a:pt x="159" y="136"/>
                </a:lnTo>
                <a:lnTo>
                  <a:pt x="159" y="114"/>
                </a:lnTo>
                <a:lnTo>
                  <a:pt x="137" y="91"/>
                </a:lnTo>
                <a:lnTo>
                  <a:pt x="159" y="68"/>
                </a:lnTo>
                <a:lnTo>
                  <a:pt x="182" y="46"/>
                </a:lnTo>
                <a:lnTo>
                  <a:pt x="159" y="0"/>
                </a:lnTo>
                <a:lnTo>
                  <a:pt x="69" y="23"/>
                </a:lnTo>
                <a:lnTo>
                  <a:pt x="46" y="23"/>
                </a:lnTo>
                <a:lnTo>
                  <a:pt x="46" y="91"/>
                </a:lnTo>
                <a:lnTo>
                  <a:pt x="91" y="91"/>
                </a:lnTo>
                <a:lnTo>
                  <a:pt x="69" y="136"/>
                </a:lnTo>
                <a:lnTo>
                  <a:pt x="0" y="136"/>
                </a:lnTo>
                <a:lnTo>
                  <a:pt x="0" y="182"/>
                </a:lnTo>
                <a:lnTo>
                  <a:pt x="69" y="205"/>
                </a:lnTo>
                <a:lnTo>
                  <a:pt x="91" y="250"/>
                </a:lnTo>
                <a:lnTo>
                  <a:pt x="91" y="318"/>
                </a:lnTo>
                <a:lnTo>
                  <a:pt x="182" y="363"/>
                </a:lnTo>
                <a:lnTo>
                  <a:pt x="227" y="409"/>
                </a:lnTo>
                <a:lnTo>
                  <a:pt x="250" y="477"/>
                </a:lnTo>
                <a:lnTo>
                  <a:pt x="250" y="522"/>
                </a:lnTo>
                <a:lnTo>
                  <a:pt x="341" y="522"/>
                </a:lnTo>
                <a:lnTo>
                  <a:pt x="363" y="477"/>
                </a:lnTo>
                <a:lnTo>
                  <a:pt x="318" y="454"/>
                </a:lnTo>
                <a:lnTo>
                  <a:pt x="295" y="363"/>
                </a:lnTo>
                <a:lnTo>
                  <a:pt x="341" y="318"/>
                </a:lnTo>
                <a:lnTo>
                  <a:pt x="341" y="273"/>
                </a:lnTo>
                <a:lnTo>
                  <a:pt x="318" y="227"/>
                </a:lnTo>
                <a:lnTo>
                  <a:pt x="227" y="205"/>
                </a:lnTo>
                <a:lnTo>
                  <a:pt x="227" y="114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2" name="Freeform 44"/>
          <p:cNvSpPr>
            <a:spLocks/>
          </p:cNvSpPr>
          <p:nvPr/>
        </p:nvSpPr>
        <p:spPr bwMode="auto">
          <a:xfrm>
            <a:off x="4352824" y="4713288"/>
            <a:ext cx="613528" cy="576262"/>
          </a:xfrm>
          <a:custGeom>
            <a:avLst/>
            <a:gdLst>
              <a:gd name="T0" fmla="*/ 267 w 454"/>
              <a:gd name="T1" fmla="*/ 363 h 521"/>
              <a:gd name="T2" fmla="*/ 283 w 454"/>
              <a:gd name="T3" fmla="*/ 300 h 521"/>
              <a:gd name="T4" fmla="*/ 314 w 454"/>
              <a:gd name="T5" fmla="*/ 268 h 521"/>
              <a:gd name="T6" fmla="*/ 251 w 454"/>
              <a:gd name="T7" fmla="*/ 237 h 521"/>
              <a:gd name="T8" fmla="*/ 251 w 454"/>
              <a:gd name="T9" fmla="*/ 190 h 521"/>
              <a:gd name="T10" fmla="*/ 236 w 454"/>
              <a:gd name="T11" fmla="*/ 158 h 521"/>
              <a:gd name="T12" fmla="*/ 188 w 454"/>
              <a:gd name="T13" fmla="*/ 142 h 521"/>
              <a:gd name="T14" fmla="*/ 188 w 454"/>
              <a:gd name="T15" fmla="*/ 110 h 521"/>
              <a:gd name="T16" fmla="*/ 236 w 454"/>
              <a:gd name="T17" fmla="*/ 110 h 521"/>
              <a:gd name="T18" fmla="*/ 251 w 454"/>
              <a:gd name="T19" fmla="*/ 79 h 521"/>
              <a:gd name="T20" fmla="*/ 220 w 454"/>
              <a:gd name="T21" fmla="*/ 79 h 521"/>
              <a:gd name="T22" fmla="*/ 220 w 454"/>
              <a:gd name="T23" fmla="*/ 31 h 521"/>
              <a:gd name="T24" fmla="*/ 188 w 454"/>
              <a:gd name="T25" fmla="*/ 15 h 521"/>
              <a:gd name="T26" fmla="*/ 157 w 454"/>
              <a:gd name="T27" fmla="*/ 15 h 521"/>
              <a:gd name="T28" fmla="*/ 126 w 454"/>
              <a:gd name="T29" fmla="*/ 0 h 521"/>
              <a:gd name="T30" fmla="*/ 94 w 454"/>
              <a:gd name="T31" fmla="*/ 15 h 521"/>
              <a:gd name="T32" fmla="*/ 94 w 454"/>
              <a:gd name="T33" fmla="*/ 47 h 521"/>
              <a:gd name="T34" fmla="*/ 94 w 454"/>
              <a:gd name="T35" fmla="*/ 110 h 521"/>
              <a:gd name="T36" fmla="*/ 63 w 454"/>
              <a:gd name="T37" fmla="*/ 126 h 521"/>
              <a:gd name="T38" fmla="*/ 0 w 454"/>
              <a:gd name="T39" fmla="*/ 206 h 521"/>
              <a:gd name="T40" fmla="*/ 0 w 454"/>
              <a:gd name="T41" fmla="*/ 237 h 521"/>
              <a:gd name="T42" fmla="*/ 16 w 454"/>
              <a:gd name="T43" fmla="*/ 253 h 521"/>
              <a:gd name="T44" fmla="*/ 16 w 454"/>
              <a:gd name="T45" fmla="*/ 284 h 521"/>
              <a:gd name="T46" fmla="*/ 32 w 454"/>
              <a:gd name="T47" fmla="*/ 268 h 521"/>
              <a:gd name="T48" fmla="*/ 63 w 454"/>
              <a:gd name="T49" fmla="*/ 268 h 521"/>
              <a:gd name="T50" fmla="*/ 79 w 454"/>
              <a:gd name="T51" fmla="*/ 284 h 521"/>
              <a:gd name="T52" fmla="*/ 79 w 454"/>
              <a:gd name="T53" fmla="*/ 268 h 521"/>
              <a:gd name="T54" fmla="*/ 126 w 454"/>
              <a:gd name="T55" fmla="*/ 284 h 521"/>
              <a:gd name="T56" fmla="*/ 126 w 454"/>
              <a:gd name="T57" fmla="*/ 316 h 521"/>
              <a:gd name="T58" fmla="*/ 173 w 454"/>
              <a:gd name="T59" fmla="*/ 348 h 521"/>
              <a:gd name="T60" fmla="*/ 204 w 454"/>
              <a:gd name="T61" fmla="*/ 348 h 521"/>
              <a:gd name="T62" fmla="*/ 220 w 454"/>
              <a:gd name="T63" fmla="*/ 332 h 521"/>
              <a:gd name="T64" fmla="*/ 236 w 454"/>
              <a:gd name="T65" fmla="*/ 332 h 521"/>
              <a:gd name="T66" fmla="*/ 251 w 454"/>
              <a:gd name="T67" fmla="*/ 348 h 521"/>
              <a:gd name="T68" fmla="*/ 267 w 454"/>
              <a:gd name="T69" fmla="*/ 363 h 52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454" h="521">
                <a:moveTo>
                  <a:pt x="386" y="521"/>
                </a:moveTo>
                <a:lnTo>
                  <a:pt x="409" y="431"/>
                </a:lnTo>
                <a:lnTo>
                  <a:pt x="454" y="385"/>
                </a:lnTo>
                <a:lnTo>
                  <a:pt x="363" y="340"/>
                </a:lnTo>
                <a:lnTo>
                  <a:pt x="363" y="272"/>
                </a:lnTo>
                <a:lnTo>
                  <a:pt x="341" y="227"/>
                </a:lnTo>
                <a:lnTo>
                  <a:pt x="272" y="204"/>
                </a:lnTo>
                <a:lnTo>
                  <a:pt x="272" y="158"/>
                </a:lnTo>
                <a:lnTo>
                  <a:pt x="341" y="158"/>
                </a:lnTo>
                <a:lnTo>
                  <a:pt x="363" y="113"/>
                </a:lnTo>
                <a:lnTo>
                  <a:pt x="318" y="113"/>
                </a:lnTo>
                <a:lnTo>
                  <a:pt x="318" y="45"/>
                </a:lnTo>
                <a:lnTo>
                  <a:pt x="272" y="22"/>
                </a:lnTo>
                <a:lnTo>
                  <a:pt x="227" y="22"/>
                </a:lnTo>
                <a:lnTo>
                  <a:pt x="182" y="0"/>
                </a:lnTo>
                <a:lnTo>
                  <a:pt x="136" y="22"/>
                </a:lnTo>
                <a:lnTo>
                  <a:pt x="136" y="68"/>
                </a:lnTo>
                <a:lnTo>
                  <a:pt x="136" y="158"/>
                </a:lnTo>
                <a:lnTo>
                  <a:pt x="91" y="181"/>
                </a:lnTo>
                <a:lnTo>
                  <a:pt x="0" y="295"/>
                </a:lnTo>
                <a:lnTo>
                  <a:pt x="0" y="340"/>
                </a:lnTo>
                <a:lnTo>
                  <a:pt x="23" y="363"/>
                </a:lnTo>
                <a:lnTo>
                  <a:pt x="23" y="408"/>
                </a:lnTo>
                <a:lnTo>
                  <a:pt x="46" y="385"/>
                </a:lnTo>
                <a:lnTo>
                  <a:pt x="91" y="385"/>
                </a:lnTo>
                <a:lnTo>
                  <a:pt x="114" y="408"/>
                </a:lnTo>
                <a:lnTo>
                  <a:pt x="114" y="385"/>
                </a:lnTo>
                <a:lnTo>
                  <a:pt x="182" y="408"/>
                </a:lnTo>
                <a:lnTo>
                  <a:pt x="182" y="453"/>
                </a:lnTo>
                <a:lnTo>
                  <a:pt x="250" y="499"/>
                </a:lnTo>
                <a:lnTo>
                  <a:pt x="295" y="499"/>
                </a:lnTo>
                <a:lnTo>
                  <a:pt x="318" y="476"/>
                </a:lnTo>
                <a:lnTo>
                  <a:pt x="341" y="476"/>
                </a:lnTo>
                <a:lnTo>
                  <a:pt x="363" y="499"/>
                </a:lnTo>
                <a:lnTo>
                  <a:pt x="386" y="521"/>
                </a:lnTo>
                <a:close/>
              </a:path>
            </a:pathLst>
          </a:custGeom>
          <a:solidFill>
            <a:srgbClr val="CC99FF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3" name="Freeform 45"/>
          <p:cNvSpPr>
            <a:spLocks/>
          </p:cNvSpPr>
          <p:nvPr/>
        </p:nvSpPr>
        <p:spPr bwMode="auto">
          <a:xfrm>
            <a:off x="3829177" y="4687943"/>
            <a:ext cx="709269" cy="225425"/>
          </a:xfrm>
          <a:custGeom>
            <a:avLst/>
            <a:gdLst>
              <a:gd name="T0" fmla="*/ 363 w 521"/>
              <a:gd name="T1" fmla="*/ 31 h 204"/>
              <a:gd name="T2" fmla="*/ 363 w 521"/>
              <a:gd name="T3" fmla="*/ 126 h 204"/>
              <a:gd name="T4" fmla="*/ 332 w 521"/>
              <a:gd name="T5" fmla="*/ 142 h 204"/>
              <a:gd name="T6" fmla="*/ 268 w 521"/>
              <a:gd name="T7" fmla="*/ 142 h 204"/>
              <a:gd name="T8" fmla="*/ 268 w 521"/>
              <a:gd name="T9" fmla="*/ 111 h 204"/>
              <a:gd name="T10" fmla="*/ 253 w 521"/>
              <a:gd name="T11" fmla="*/ 95 h 204"/>
              <a:gd name="T12" fmla="*/ 221 w 521"/>
              <a:gd name="T13" fmla="*/ 79 h 204"/>
              <a:gd name="T14" fmla="*/ 190 w 521"/>
              <a:gd name="T15" fmla="*/ 95 h 204"/>
              <a:gd name="T16" fmla="*/ 173 w 521"/>
              <a:gd name="T17" fmla="*/ 79 h 204"/>
              <a:gd name="T18" fmla="*/ 142 w 521"/>
              <a:gd name="T19" fmla="*/ 63 h 204"/>
              <a:gd name="T20" fmla="*/ 111 w 521"/>
              <a:gd name="T21" fmla="*/ 95 h 204"/>
              <a:gd name="T22" fmla="*/ 63 w 521"/>
              <a:gd name="T23" fmla="*/ 111 h 204"/>
              <a:gd name="T24" fmla="*/ 31 w 521"/>
              <a:gd name="T25" fmla="*/ 111 h 204"/>
              <a:gd name="T26" fmla="*/ 0 w 521"/>
              <a:gd name="T27" fmla="*/ 111 h 204"/>
              <a:gd name="T28" fmla="*/ 15 w 521"/>
              <a:gd name="T29" fmla="*/ 63 h 204"/>
              <a:gd name="T30" fmla="*/ 63 w 521"/>
              <a:gd name="T31" fmla="*/ 63 h 204"/>
              <a:gd name="T32" fmla="*/ 79 w 521"/>
              <a:gd name="T33" fmla="*/ 16 h 204"/>
              <a:gd name="T34" fmla="*/ 95 w 521"/>
              <a:gd name="T35" fmla="*/ 16 h 204"/>
              <a:gd name="T36" fmla="*/ 126 w 521"/>
              <a:gd name="T37" fmla="*/ 0 h 204"/>
              <a:gd name="T38" fmla="*/ 142 w 521"/>
              <a:gd name="T39" fmla="*/ 0 h 204"/>
              <a:gd name="T40" fmla="*/ 190 w 521"/>
              <a:gd name="T41" fmla="*/ 31 h 204"/>
              <a:gd name="T42" fmla="*/ 268 w 521"/>
              <a:gd name="T43" fmla="*/ 47 h 204"/>
              <a:gd name="T44" fmla="*/ 332 w 521"/>
              <a:gd name="T45" fmla="*/ 47 h 204"/>
              <a:gd name="T46" fmla="*/ 363 w 521"/>
              <a:gd name="T47" fmla="*/ 31 h 20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521" h="204">
                <a:moveTo>
                  <a:pt x="521" y="45"/>
                </a:moveTo>
                <a:lnTo>
                  <a:pt x="521" y="181"/>
                </a:lnTo>
                <a:lnTo>
                  <a:pt x="476" y="204"/>
                </a:lnTo>
                <a:lnTo>
                  <a:pt x="385" y="204"/>
                </a:lnTo>
                <a:lnTo>
                  <a:pt x="385" y="159"/>
                </a:lnTo>
                <a:lnTo>
                  <a:pt x="363" y="136"/>
                </a:lnTo>
                <a:lnTo>
                  <a:pt x="317" y="113"/>
                </a:lnTo>
                <a:lnTo>
                  <a:pt x="272" y="136"/>
                </a:lnTo>
                <a:lnTo>
                  <a:pt x="249" y="113"/>
                </a:lnTo>
                <a:lnTo>
                  <a:pt x="204" y="91"/>
                </a:lnTo>
                <a:lnTo>
                  <a:pt x="159" y="136"/>
                </a:lnTo>
                <a:lnTo>
                  <a:pt x="90" y="159"/>
                </a:lnTo>
                <a:lnTo>
                  <a:pt x="45" y="159"/>
                </a:lnTo>
                <a:lnTo>
                  <a:pt x="0" y="159"/>
                </a:lnTo>
                <a:lnTo>
                  <a:pt x="22" y="91"/>
                </a:lnTo>
                <a:lnTo>
                  <a:pt x="90" y="91"/>
                </a:lnTo>
                <a:lnTo>
                  <a:pt x="113" y="23"/>
                </a:lnTo>
                <a:lnTo>
                  <a:pt x="136" y="23"/>
                </a:lnTo>
                <a:lnTo>
                  <a:pt x="181" y="0"/>
                </a:lnTo>
                <a:lnTo>
                  <a:pt x="204" y="0"/>
                </a:lnTo>
                <a:lnTo>
                  <a:pt x="272" y="45"/>
                </a:lnTo>
                <a:lnTo>
                  <a:pt x="385" y="68"/>
                </a:lnTo>
                <a:lnTo>
                  <a:pt x="476" y="68"/>
                </a:lnTo>
                <a:lnTo>
                  <a:pt x="521" y="45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4" name="Freeform 46"/>
          <p:cNvSpPr>
            <a:spLocks/>
          </p:cNvSpPr>
          <p:nvPr/>
        </p:nvSpPr>
        <p:spPr bwMode="auto">
          <a:xfrm>
            <a:off x="3829178" y="4787900"/>
            <a:ext cx="656515" cy="450850"/>
          </a:xfrm>
          <a:custGeom>
            <a:avLst/>
            <a:gdLst>
              <a:gd name="T0" fmla="*/ 0 w 476"/>
              <a:gd name="T1" fmla="*/ 47 h 408"/>
              <a:gd name="T2" fmla="*/ 64 w 476"/>
              <a:gd name="T3" fmla="*/ 47 h 408"/>
              <a:gd name="T4" fmla="*/ 112 w 476"/>
              <a:gd name="T5" fmla="*/ 31 h 408"/>
              <a:gd name="T6" fmla="*/ 144 w 476"/>
              <a:gd name="T7" fmla="*/ 0 h 408"/>
              <a:gd name="T8" fmla="*/ 176 w 476"/>
              <a:gd name="T9" fmla="*/ 15 h 408"/>
              <a:gd name="T10" fmla="*/ 192 w 476"/>
              <a:gd name="T11" fmla="*/ 31 h 408"/>
              <a:gd name="T12" fmla="*/ 224 w 476"/>
              <a:gd name="T13" fmla="*/ 15 h 408"/>
              <a:gd name="T14" fmla="*/ 256 w 476"/>
              <a:gd name="T15" fmla="*/ 31 h 408"/>
              <a:gd name="T16" fmla="*/ 272 w 476"/>
              <a:gd name="T17" fmla="*/ 47 h 408"/>
              <a:gd name="T18" fmla="*/ 272 w 476"/>
              <a:gd name="T19" fmla="*/ 79 h 408"/>
              <a:gd name="T20" fmla="*/ 336 w 476"/>
              <a:gd name="T21" fmla="*/ 79 h 408"/>
              <a:gd name="T22" fmla="*/ 272 w 476"/>
              <a:gd name="T23" fmla="*/ 158 h 408"/>
              <a:gd name="T24" fmla="*/ 272 w 476"/>
              <a:gd name="T25" fmla="*/ 189 h 408"/>
              <a:gd name="T26" fmla="*/ 288 w 476"/>
              <a:gd name="T27" fmla="*/ 205 h 408"/>
              <a:gd name="T28" fmla="*/ 288 w 476"/>
              <a:gd name="T29" fmla="*/ 237 h 408"/>
              <a:gd name="T30" fmla="*/ 272 w 476"/>
              <a:gd name="T31" fmla="*/ 221 h 408"/>
              <a:gd name="T32" fmla="*/ 256 w 476"/>
              <a:gd name="T33" fmla="*/ 221 h 408"/>
              <a:gd name="T34" fmla="*/ 240 w 476"/>
              <a:gd name="T35" fmla="*/ 205 h 408"/>
              <a:gd name="T36" fmla="*/ 224 w 476"/>
              <a:gd name="T37" fmla="*/ 221 h 408"/>
              <a:gd name="T38" fmla="*/ 256 w 476"/>
              <a:gd name="T39" fmla="*/ 237 h 408"/>
              <a:gd name="T40" fmla="*/ 208 w 476"/>
              <a:gd name="T41" fmla="*/ 253 h 408"/>
              <a:gd name="T42" fmla="*/ 176 w 476"/>
              <a:gd name="T43" fmla="*/ 221 h 408"/>
              <a:gd name="T44" fmla="*/ 160 w 476"/>
              <a:gd name="T45" fmla="*/ 237 h 408"/>
              <a:gd name="T46" fmla="*/ 160 w 476"/>
              <a:gd name="T47" fmla="*/ 253 h 408"/>
              <a:gd name="T48" fmla="*/ 144 w 476"/>
              <a:gd name="T49" fmla="*/ 284 h 408"/>
              <a:gd name="T50" fmla="*/ 128 w 476"/>
              <a:gd name="T51" fmla="*/ 268 h 408"/>
              <a:gd name="T52" fmla="*/ 112 w 476"/>
              <a:gd name="T53" fmla="*/ 268 h 408"/>
              <a:gd name="T54" fmla="*/ 112 w 476"/>
              <a:gd name="T55" fmla="*/ 237 h 408"/>
              <a:gd name="T56" fmla="*/ 80 w 476"/>
              <a:gd name="T57" fmla="*/ 237 h 408"/>
              <a:gd name="T58" fmla="*/ 64 w 476"/>
              <a:gd name="T59" fmla="*/ 253 h 408"/>
              <a:gd name="T60" fmla="*/ 32 w 476"/>
              <a:gd name="T61" fmla="*/ 253 h 408"/>
              <a:gd name="T62" fmla="*/ 32 w 476"/>
              <a:gd name="T63" fmla="*/ 221 h 408"/>
              <a:gd name="T64" fmla="*/ 48 w 476"/>
              <a:gd name="T65" fmla="*/ 142 h 408"/>
              <a:gd name="T66" fmla="*/ 32 w 476"/>
              <a:gd name="T67" fmla="*/ 126 h 408"/>
              <a:gd name="T68" fmla="*/ 48 w 476"/>
              <a:gd name="T69" fmla="*/ 79 h 408"/>
              <a:gd name="T70" fmla="*/ 0 w 476"/>
              <a:gd name="T71" fmla="*/ 47 h 4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476" h="408">
                <a:moveTo>
                  <a:pt x="0" y="68"/>
                </a:moveTo>
                <a:lnTo>
                  <a:pt x="90" y="68"/>
                </a:lnTo>
                <a:lnTo>
                  <a:pt x="159" y="45"/>
                </a:lnTo>
                <a:lnTo>
                  <a:pt x="204" y="0"/>
                </a:lnTo>
                <a:lnTo>
                  <a:pt x="249" y="22"/>
                </a:lnTo>
                <a:lnTo>
                  <a:pt x="272" y="45"/>
                </a:lnTo>
                <a:lnTo>
                  <a:pt x="317" y="22"/>
                </a:lnTo>
                <a:lnTo>
                  <a:pt x="363" y="45"/>
                </a:lnTo>
                <a:lnTo>
                  <a:pt x="385" y="68"/>
                </a:lnTo>
                <a:lnTo>
                  <a:pt x="385" y="113"/>
                </a:lnTo>
                <a:lnTo>
                  <a:pt x="476" y="113"/>
                </a:lnTo>
                <a:lnTo>
                  <a:pt x="385" y="227"/>
                </a:lnTo>
                <a:lnTo>
                  <a:pt x="385" y="272"/>
                </a:lnTo>
                <a:lnTo>
                  <a:pt x="408" y="295"/>
                </a:lnTo>
                <a:lnTo>
                  <a:pt x="408" y="340"/>
                </a:lnTo>
                <a:lnTo>
                  <a:pt x="385" y="317"/>
                </a:lnTo>
                <a:lnTo>
                  <a:pt x="363" y="317"/>
                </a:lnTo>
                <a:lnTo>
                  <a:pt x="340" y="295"/>
                </a:lnTo>
                <a:lnTo>
                  <a:pt x="317" y="317"/>
                </a:lnTo>
                <a:lnTo>
                  <a:pt x="363" y="340"/>
                </a:lnTo>
                <a:lnTo>
                  <a:pt x="295" y="363"/>
                </a:lnTo>
                <a:lnTo>
                  <a:pt x="249" y="317"/>
                </a:lnTo>
                <a:lnTo>
                  <a:pt x="227" y="340"/>
                </a:lnTo>
                <a:lnTo>
                  <a:pt x="227" y="363"/>
                </a:lnTo>
                <a:lnTo>
                  <a:pt x="204" y="408"/>
                </a:lnTo>
                <a:lnTo>
                  <a:pt x="181" y="385"/>
                </a:lnTo>
                <a:lnTo>
                  <a:pt x="159" y="385"/>
                </a:lnTo>
                <a:lnTo>
                  <a:pt x="159" y="340"/>
                </a:lnTo>
                <a:lnTo>
                  <a:pt x="113" y="340"/>
                </a:lnTo>
                <a:lnTo>
                  <a:pt x="90" y="363"/>
                </a:lnTo>
                <a:lnTo>
                  <a:pt x="45" y="363"/>
                </a:lnTo>
                <a:lnTo>
                  <a:pt x="45" y="317"/>
                </a:lnTo>
                <a:lnTo>
                  <a:pt x="68" y="204"/>
                </a:lnTo>
                <a:lnTo>
                  <a:pt x="45" y="181"/>
                </a:lnTo>
                <a:lnTo>
                  <a:pt x="68" y="113"/>
                </a:lnTo>
                <a:lnTo>
                  <a:pt x="0" y="68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5" name="Freeform 47"/>
          <p:cNvSpPr>
            <a:spLocks/>
          </p:cNvSpPr>
          <p:nvPr/>
        </p:nvSpPr>
        <p:spPr bwMode="auto">
          <a:xfrm>
            <a:off x="3211741" y="4811768"/>
            <a:ext cx="709269" cy="401637"/>
          </a:xfrm>
          <a:custGeom>
            <a:avLst/>
            <a:gdLst>
              <a:gd name="T0" fmla="*/ 16 w 522"/>
              <a:gd name="T1" fmla="*/ 222 h 363"/>
              <a:gd name="T2" fmla="*/ 0 w 522"/>
              <a:gd name="T3" fmla="*/ 190 h 363"/>
              <a:gd name="T4" fmla="*/ 0 w 522"/>
              <a:gd name="T5" fmla="*/ 143 h 363"/>
              <a:gd name="T6" fmla="*/ 32 w 522"/>
              <a:gd name="T7" fmla="*/ 95 h 363"/>
              <a:gd name="T8" fmla="*/ 47 w 522"/>
              <a:gd name="T9" fmla="*/ 79 h 363"/>
              <a:gd name="T10" fmla="*/ 95 w 522"/>
              <a:gd name="T11" fmla="*/ 63 h 363"/>
              <a:gd name="T12" fmla="*/ 142 w 522"/>
              <a:gd name="T13" fmla="*/ 63 h 363"/>
              <a:gd name="T14" fmla="*/ 189 w 522"/>
              <a:gd name="T15" fmla="*/ 79 h 363"/>
              <a:gd name="T16" fmla="*/ 189 w 522"/>
              <a:gd name="T17" fmla="*/ 47 h 363"/>
              <a:gd name="T18" fmla="*/ 221 w 522"/>
              <a:gd name="T19" fmla="*/ 32 h 363"/>
              <a:gd name="T20" fmla="*/ 252 w 522"/>
              <a:gd name="T21" fmla="*/ 0 h 363"/>
              <a:gd name="T22" fmla="*/ 300 w 522"/>
              <a:gd name="T23" fmla="*/ 32 h 363"/>
              <a:gd name="T24" fmla="*/ 316 w 522"/>
              <a:gd name="T25" fmla="*/ 32 h 363"/>
              <a:gd name="T26" fmla="*/ 363 w 522"/>
              <a:gd name="T27" fmla="*/ 63 h 363"/>
              <a:gd name="T28" fmla="*/ 347 w 522"/>
              <a:gd name="T29" fmla="*/ 111 h 363"/>
              <a:gd name="T30" fmla="*/ 363 w 522"/>
              <a:gd name="T31" fmla="*/ 127 h 363"/>
              <a:gd name="T32" fmla="*/ 347 w 522"/>
              <a:gd name="T33" fmla="*/ 206 h 363"/>
              <a:gd name="T34" fmla="*/ 347 w 522"/>
              <a:gd name="T35" fmla="*/ 238 h 363"/>
              <a:gd name="T36" fmla="*/ 316 w 522"/>
              <a:gd name="T37" fmla="*/ 253 h 363"/>
              <a:gd name="T38" fmla="*/ 300 w 522"/>
              <a:gd name="T39" fmla="*/ 238 h 363"/>
              <a:gd name="T40" fmla="*/ 300 w 522"/>
              <a:gd name="T41" fmla="*/ 222 h 363"/>
              <a:gd name="T42" fmla="*/ 284 w 522"/>
              <a:gd name="T43" fmla="*/ 238 h 363"/>
              <a:gd name="T44" fmla="*/ 268 w 522"/>
              <a:gd name="T45" fmla="*/ 238 h 363"/>
              <a:gd name="T46" fmla="*/ 252 w 522"/>
              <a:gd name="T47" fmla="*/ 222 h 363"/>
              <a:gd name="T48" fmla="*/ 252 w 522"/>
              <a:gd name="T49" fmla="*/ 238 h 363"/>
              <a:gd name="T50" fmla="*/ 236 w 522"/>
              <a:gd name="T51" fmla="*/ 253 h 363"/>
              <a:gd name="T52" fmla="*/ 221 w 522"/>
              <a:gd name="T53" fmla="*/ 238 h 363"/>
              <a:gd name="T54" fmla="*/ 205 w 522"/>
              <a:gd name="T55" fmla="*/ 238 h 363"/>
              <a:gd name="T56" fmla="*/ 189 w 522"/>
              <a:gd name="T57" fmla="*/ 253 h 363"/>
              <a:gd name="T58" fmla="*/ 174 w 522"/>
              <a:gd name="T59" fmla="*/ 238 h 363"/>
              <a:gd name="T60" fmla="*/ 142 w 522"/>
              <a:gd name="T61" fmla="*/ 253 h 363"/>
              <a:gd name="T62" fmla="*/ 127 w 522"/>
              <a:gd name="T63" fmla="*/ 253 h 363"/>
              <a:gd name="T64" fmla="*/ 111 w 522"/>
              <a:gd name="T65" fmla="*/ 238 h 363"/>
              <a:gd name="T66" fmla="*/ 111 w 522"/>
              <a:gd name="T67" fmla="*/ 222 h 363"/>
              <a:gd name="T68" fmla="*/ 111 w 522"/>
              <a:gd name="T69" fmla="*/ 206 h 363"/>
              <a:gd name="T70" fmla="*/ 79 w 522"/>
              <a:gd name="T71" fmla="*/ 190 h 363"/>
              <a:gd name="T72" fmla="*/ 32 w 522"/>
              <a:gd name="T73" fmla="*/ 222 h 363"/>
              <a:gd name="T74" fmla="*/ 16 w 522"/>
              <a:gd name="T75" fmla="*/ 222 h 36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522" h="363">
                <a:moveTo>
                  <a:pt x="23" y="318"/>
                </a:moveTo>
                <a:lnTo>
                  <a:pt x="0" y="273"/>
                </a:lnTo>
                <a:lnTo>
                  <a:pt x="0" y="205"/>
                </a:lnTo>
                <a:lnTo>
                  <a:pt x="46" y="137"/>
                </a:lnTo>
                <a:lnTo>
                  <a:pt x="68" y="114"/>
                </a:lnTo>
                <a:lnTo>
                  <a:pt x="136" y="91"/>
                </a:lnTo>
                <a:lnTo>
                  <a:pt x="204" y="91"/>
                </a:lnTo>
                <a:lnTo>
                  <a:pt x="272" y="114"/>
                </a:lnTo>
                <a:lnTo>
                  <a:pt x="272" y="68"/>
                </a:lnTo>
                <a:lnTo>
                  <a:pt x="318" y="46"/>
                </a:lnTo>
                <a:lnTo>
                  <a:pt x="363" y="0"/>
                </a:lnTo>
                <a:lnTo>
                  <a:pt x="431" y="46"/>
                </a:lnTo>
                <a:lnTo>
                  <a:pt x="454" y="46"/>
                </a:lnTo>
                <a:lnTo>
                  <a:pt x="522" y="91"/>
                </a:lnTo>
                <a:lnTo>
                  <a:pt x="499" y="159"/>
                </a:lnTo>
                <a:lnTo>
                  <a:pt x="522" y="182"/>
                </a:lnTo>
                <a:lnTo>
                  <a:pt x="499" y="295"/>
                </a:lnTo>
                <a:lnTo>
                  <a:pt x="499" y="341"/>
                </a:lnTo>
                <a:lnTo>
                  <a:pt x="454" y="363"/>
                </a:lnTo>
                <a:lnTo>
                  <a:pt x="431" y="341"/>
                </a:lnTo>
                <a:lnTo>
                  <a:pt x="431" y="318"/>
                </a:lnTo>
                <a:lnTo>
                  <a:pt x="408" y="341"/>
                </a:lnTo>
                <a:lnTo>
                  <a:pt x="386" y="341"/>
                </a:lnTo>
                <a:lnTo>
                  <a:pt x="363" y="318"/>
                </a:lnTo>
                <a:lnTo>
                  <a:pt x="363" y="341"/>
                </a:lnTo>
                <a:lnTo>
                  <a:pt x="340" y="363"/>
                </a:lnTo>
                <a:lnTo>
                  <a:pt x="318" y="341"/>
                </a:lnTo>
                <a:lnTo>
                  <a:pt x="295" y="341"/>
                </a:lnTo>
                <a:lnTo>
                  <a:pt x="272" y="363"/>
                </a:lnTo>
                <a:lnTo>
                  <a:pt x="250" y="341"/>
                </a:lnTo>
                <a:lnTo>
                  <a:pt x="204" y="363"/>
                </a:lnTo>
                <a:lnTo>
                  <a:pt x="182" y="363"/>
                </a:lnTo>
                <a:lnTo>
                  <a:pt x="159" y="341"/>
                </a:lnTo>
                <a:lnTo>
                  <a:pt x="159" y="318"/>
                </a:lnTo>
                <a:lnTo>
                  <a:pt x="159" y="295"/>
                </a:lnTo>
                <a:lnTo>
                  <a:pt x="114" y="273"/>
                </a:lnTo>
                <a:lnTo>
                  <a:pt x="46" y="318"/>
                </a:lnTo>
                <a:lnTo>
                  <a:pt x="23" y="318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6" name="Freeform 48"/>
          <p:cNvSpPr>
            <a:spLocks/>
          </p:cNvSpPr>
          <p:nvPr/>
        </p:nvSpPr>
        <p:spPr bwMode="auto">
          <a:xfrm>
            <a:off x="7131288" y="4077071"/>
            <a:ext cx="961324" cy="720000"/>
          </a:xfrm>
          <a:custGeom>
            <a:avLst/>
            <a:gdLst>
              <a:gd name="T0" fmla="*/ 0 w 704"/>
              <a:gd name="T1" fmla="*/ 315 h 612"/>
              <a:gd name="T2" fmla="*/ 0 w 704"/>
              <a:gd name="T3" fmla="*/ 237 h 612"/>
              <a:gd name="T4" fmla="*/ 16 w 704"/>
              <a:gd name="T5" fmla="*/ 221 h 612"/>
              <a:gd name="T6" fmla="*/ 0 w 704"/>
              <a:gd name="T7" fmla="*/ 173 h 612"/>
              <a:gd name="T8" fmla="*/ 32 w 704"/>
              <a:gd name="T9" fmla="*/ 142 h 612"/>
              <a:gd name="T10" fmla="*/ 111 w 704"/>
              <a:gd name="T11" fmla="*/ 142 h 612"/>
              <a:gd name="T12" fmla="*/ 159 w 704"/>
              <a:gd name="T13" fmla="*/ 63 h 612"/>
              <a:gd name="T14" fmla="*/ 191 w 704"/>
              <a:gd name="T15" fmla="*/ 63 h 612"/>
              <a:gd name="T16" fmla="*/ 254 w 704"/>
              <a:gd name="T17" fmla="*/ 110 h 612"/>
              <a:gd name="T18" fmla="*/ 286 w 704"/>
              <a:gd name="T19" fmla="*/ 110 h 612"/>
              <a:gd name="T20" fmla="*/ 301 w 704"/>
              <a:gd name="T21" fmla="*/ 79 h 612"/>
              <a:gd name="T22" fmla="*/ 317 w 704"/>
              <a:gd name="T23" fmla="*/ 63 h 612"/>
              <a:gd name="T24" fmla="*/ 333 w 704"/>
              <a:gd name="T25" fmla="*/ 0 h 612"/>
              <a:gd name="T26" fmla="*/ 349 w 704"/>
              <a:gd name="T27" fmla="*/ 0 h 612"/>
              <a:gd name="T28" fmla="*/ 365 w 704"/>
              <a:gd name="T29" fmla="*/ 31 h 612"/>
              <a:gd name="T30" fmla="*/ 365 w 704"/>
              <a:gd name="T31" fmla="*/ 63 h 612"/>
              <a:gd name="T32" fmla="*/ 396 w 704"/>
              <a:gd name="T33" fmla="*/ 79 h 612"/>
              <a:gd name="T34" fmla="*/ 412 w 704"/>
              <a:gd name="T35" fmla="*/ 126 h 612"/>
              <a:gd name="T36" fmla="*/ 460 w 704"/>
              <a:gd name="T37" fmla="*/ 142 h 612"/>
              <a:gd name="T38" fmla="*/ 492 w 704"/>
              <a:gd name="T39" fmla="*/ 142 h 612"/>
              <a:gd name="T40" fmla="*/ 492 w 704"/>
              <a:gd name="T41" fmla="*/ 189 h 612"/>
              <a:gd name="T42" fmla="*/ 460 w 704"/>
              <a:gd name="T43" fmla="*/ 315 h 612"/>
              <a:gd name="T44" fmla="*/ 412 w 704"/>
              <a:gd name="T45" fmla="*/ 395 h 612"/>
              <a:gd name="T46" fmla="*/ 396 w 704"/>
              <a:gd name="T47" fmla="*/ 410 h 612"/>
              <a:gd name="T48" fmla="*/ 365 w 704"/>
              <a:gd name="T49" fmla="*/ 410 h 612"/>
              <a:gd name="T50" fmla="*/ 349 w 704"/>
              <a:gd name="T51" fmla="*/ 426 h 612"/>
              <a:gd name="T52" fmla="*/ 333 w 704"/>
              <a:gd name="T53" fmla="*/ 410 h 612"/>
              <a:gd name="T54" fmla="*/ 317 w 704"/>
              <a:gd name="T55" fmla="*/ 379 h 612"/>
              <a:gd name="T56" fmla="*/ 301 w 704"/>
              <a:gd name="T57" fmla="*/ 395 h 612"/>
              <a:gd name="T58" fmla="*/ 301 w 704"/>
              <a:gd name="T59" fmla="*/ 426 h 612"/>
              <a:gd name="T60" fmla="*/ 254 w 704"/>
              <a:gd name="T61" fmla="*/ 395 h 612"/>
              <a:gd name="T62" fmla="*/ 254 w 704"/>
              <a:gd name="T63" fmla="*/ 363 h 612"/>
              <a:gd name="T64" fmla="*/ 191 w 704"/>
              <a:gd name="T65" fmla="*/ 284 h 612"/>
              <a:gd name="T66" fmla="*/ 143 w 704"/>
              <a:gd name="T67" fmla="*/ 268 h 612"/>
              <a:gd name="T68" fmla="*/ 111 w 704"/>
              <a:gd name="T69" fmla="*/ 315 h 612"/>
              <a:gd name="T70" fmla="*/ 80 w 704"/>
              <a:gd name="T71" fmla="*/ 315 h 612"/>
              <a:gd name="T72" fmla="*/ 64 w 704"/>
              <a:gd name="T73" fmla="*/ 300 h 612"/>
              <a:gd name="T74" fmla="*/ 16 w 704"/>
              <a:gd name="T75" fmla="*/ 331 h 612"/>
              <a:gd name="T76" fmla="*/ 0 w 704"/>
              <a:gd name="T77" fmla="*/ 315 h 61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704" h="612">
                <a:moveTo>
                  <a:pt x="0" y="453"/>
                </a:moveTo>
                <a:lnTo>
                  <a:pt x="0" y="340"/>
                </a:lnTo>
                <a:lnTo>
                  <a:pt x="23" y="317"/>
                </a:lnTo>
                <a:lnTo>
                  <a:pt x="0" y="249"/>
                </a:lnTo>
                <a:lnTo>
                  <a:pt x="46" y="204"/>
                </a:lnTo>
                <a:lnTo>
                  <a:pt x="159" y="204"/>
                </a:lnTo>
                <a:lnTo>
                  <a:pt x="227" y="90"/>
                </a:lnTo>
                <a:lnTo>
                  <a:pt x="273" y="90"/>
                </a:lnTo>
                <a:lnTo>
                  <a:pt x="363" y="158"/>
                </a:lnTo>
                <a:lnTo>
                  <a:pt x="409" y="158"/>
                </a:lnTo>
                <a:lnTo>
                  <a:pt x="431" y="113"/>
                </a:lnTo>
                <a:lnTo>
                  <a:pt x="454" y="90"/>
                </a:lnTo>
                <a:lnTo>
                  <a:pt x="477" y="0"/>
                </a:lnTo>
                <a:lnTo>
                  <a:pt x="499" y="0"/>
                </a:lnTo>
                <a:lnTo>
                  <a:pt x="522" y="45"/>
                </a:lnTo>
                <a:lnTo>
                  <a:pt x="522" y="90"/>
                </a:lnTo>
                <a:lnTo>
                  <a:pt x="567" y="113"/>
                </a:lnTo>
                <a:lnTo>
                  <a:pt x="590" y="181"/>
                </a:lnTo>
                <a:lnTo>
                  <a:pt x="658" y="204"/>
                </a:lnTo>
                <a:lnTo>
                  <a:pt x="704" y="204"/>
                </a:lnTo>
                <a:lnTo>
                  <a:pt x="704" y="272"/>
                </a:lnTo>
                <a:lnTo>
                  <a:pt x="658" y="453"/>
                </a:lnTo>
                <a:lnTo>
                  <a:pt x="590" y="567"/>
                </a:lnTo>
                <a:lnTo>
                  <a:pt x="567" y="589"/>
                </a:lnTo>
                <a:lnTo>
                  <a:pt x="522" y="589"/>
                </a:lnTo>
                <a:lnTo>
                  <a:pt x="499" y="612"/>
                </a:lnTo>
                <a:lnTo>
                  <a:pt x="477" y="589"/>
                </a:lnTo>
                <a:lnTo>
                  <a:pt x="454" y="544"/>
                </a:lnTo>
                <a:lnTo>
                  <a:pt x="431" y="567"/>
                </a:lnTo>
                <a:lnTo>
                  <a:pt x="431" y="612"/>
                </a:lnTo>
                <a:lnTo>
                  <a:pt x="363" y="567"/>
                </a:lnTo>
                <a:lnTo>
                  <a:pt x="363" y="521"/>
                </a:lnTo>
                <a:lnTo>
                  <a:pt x="273" y="408"/>
                </a:lnTo>
                <a:lnTo>
                  <a:pt x="205" y="385"/>
                </a:lnTo>
                <a:lnTo>
                  <a:pt x="159" y="453"/>
                </a:lnTo>
                <a:lnTo>
                  <a:pt x="114" y="453"/>
                </a:lnTo>
                <a:lnTo>
                  <a:pt x="91" y="431"/>
                </a:lnTo>
                <a:lnTo>
                  <a:pt x="23" y="476"/>
                </a:lnTo>
                <a:lnTo>
                  <a:pt x="0" y="453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7" name="Freeform 49"/>
          <p:cNvSpPr>
            <a:spLocks/>
          </p:cNvSpPr>
          <p:nvPr/>
        </p:nvSpPr>
        <p:spPr bwMode="auto">
          <a:xfrm>
            <a:off x="7842510" y="3709988"/>
            <a:ext cx="771795" cy="601662"/>
          </a:xfrm>
          <a:custGeom>
            <a:avLst/>
            <a:gdLst>
              <a:gd name="T0" fmla="*/ 0 w 567"/>
              <a:gd name="T1" fmla="*/ 268 h 544"/>
              <a:gd name="T2" fmla="*/ 16 w 567"/>
              <a:gd name="T3" fmla="*/ 237 h 544"/>
              <a:gd name="T4" fmla="*/ 16 w 567"/>
              <a:gd name="T5" fmla="*/ 190 h 544"/>
              <a:gd name="T6" fmla="*/ 79 w 567"/>
              <a:gd name="T7" fmla="*/ 142 h 544"/>
              <a:gd name="T8" fmla="*/ 95 w 567"/>
              <a:gd name="T9" fmla="*/ 110 h 544"/>
              <a:gd name="T10" fmla="*/ 79 w 567"/>
              <a:gd name="T11" fmla="*/ 79 h 544"/>
              <a:gd name="T12" fmla="*/ 111 w 567"/>
              <a:gd name="T13" fmla="*/ 63 h 544"/>
              <a:gd name="T14" fmla="*/ 111 w 567"/>
              <a:gd name="T15" fmla="*/ 31 h 544"/>
              <a:gd name="T16" fmla="*/ 174 w 567"/>
              <a:gd name="T17" fmla="*/ 0 h 544"/>
              <a:gd name="T18" fmla="*/ 189 w 567"/>
              <a:gd name="T19" fmla="*/ 31 h 544"/>
              <a:gd name="T20" fmla="*/ 237 w 567"/>
              <a:gd name="T21" fmla="*/ 31 h 544"/>
              <a:gd name="T22" fmla="*/ 253 w 567"/>
              <a:gd name="T23" fmla="*/ 47 h 544"/>
              <a:gd name="T24" fmla="*/ 253 w 567"/>
              <a:gd name="T25" fmla="*/ 79 h 544"/>
              <a:gd name="T26" fmla="*/ 284 w 567"/>
              <a:gd name="T27" fmla="*/ 95 h 544"/>
              <a:gd name="T28" fmla="*/ 300 w 567"/>
              <a:gd name="T29" fmla="*/ 79 h 544"/>
              <a:gd name="T30" fmla="*/ 316 w 567"/>
              <a:gd name="T31" fmla="*/ 95 h 544"/>
              <a:gd name="T32" fmla="*/ 332 w 567"/>
              <a:gd name="T33" fmla="*/ 63 h 544"/>
              <a:gd name="T34" fmla="*/ 332 w 567"/>
              <a:gd name="T35" fmla="*/ 47 h 544"/>
              <a:gd name="T36" fmla="*/ 348 w 567"/>
              <a:gd name="T37" fmla="*/ 31 h 544"/>
              <a:gd name="T38" fmla="*/ 379 w 567"/>
              <a:gd name="T39" fmla="*/ 31 h 544"/>
              <a:gd name="T40" fmla="*/ 395 w 567"/>
              <a:gd name="T41" fmla="*/ 63 h 544"/>
              <a:gd name="T42" fmla="*/ 364 w 567"/>
              <a:gd name="T43" fmla="*/ 79 h 544"/>
              <a:gd name="T44" fmla="*/ 348 w 567"/>
              <a:gd name="T45" fmla="*/ 95 h 544"/>
              <a:gd name="T46" fmla="*/ 332 w 567"/>
              <a:gd name="T47" fmla="*/ 110 h 544"/>
              <a:gd name="T48" fmla="*/ 348 w 567"/>
              <a:gd name="T49" fmla="*/ 126 h 544"/>
              <a:gd name="T50" fmla="*/ 316 w 567"/>
              <a:gd name="T51" fmla="*/ 126 h 544"/>
              <a:gd name="T52" fmla="*/ 300 w 567"/>
              <a:gd name="T53" fmla="*/ 142 h 544"/>
              <a:gd name="T54" fmla="*/ 316 w 567"/>
              <a:gd name="T55" fmla="*/ 142 h 544"/>
              <a:gd name="T56" fmla="*/ 316 w 567"/>
              <a:gd name="T57" fmla="*/ 157 h 544"/>
              <a:gd name="T58" fmla="*/ 300 w 567"/>
              <a:gd name="T59" fmla="*/ 157 h 544"/>
              <a:gd name="T60" fmla="*/ 316 w 567"/>
              <a:gd name="T61" fmla="*/ 173 h 544"/>
              <a:gd name="T62" fmla="*/ 300 w 567"/>
              <a:gd name="T63" fmla="*/ 221 h 544"/>
              <a:gd name="T64" fmla="*/ 269 w 567"/>
              <a:gd name="T65" fmla="*/ 205 h 544"/>
              <a:gd name="T66" fmla="*/ 222 w 567"/>
              <a:gd name="T67" fmla="*/ 205 h 544"/>
              <a:gd name="T68" fmla="*/ 189 w 567"/>
              <a:gd name="T69" fmla="*/ 190 h 544"/>
              <a:gd name="T70" fmla="*/ 174 w 567"/>
              <a:gd name="T71" fmla="*/ 205 h 544"/>
              <a:gd name="T72" fmla="*/ 189 w 567"/>
              <a:gd name="T73" fmla="*/ 221 h 544"/>
              <a:gd name="T74" fmla="*/ 158 w 567"/>
              <a:gd name="T75" fmla="*/ 237 h 544"/>
              <a:gd name="T76" fmla="*/ 111 w 567"/>
              <a:gd name="T77" fmla="*/ 332 h 544"/>
              <a:gd name="T78" fmla="*/ 127 w 567"/>
              <a:gd name="T79" fmla="*/ 379 h 544"/>
              <a:gd name="T80" fmla="*/ 95 w 567"/>
              <a:gd name="T81" fmla="*/ 379 h 544"/>
              <a:gd name="T82" fmla="*/ 47 w 567"/>
              <a:gd name="T83" fmla="*/ 363 h 544"/>
              <a:gd name="T84" fmla="*/ 31 w 567"/>
              <a:gd name="T85" fmla="*/ 316 h 544"/>
              <a:gd name="T86" fmla="*/ 0 w 567"/>
              <a:gd name="T87" fmla="*/ 300 h 544"/>
              <a:gd name="T88" fmla="*/ 0 w 567"/>
              <a:gd name="T89" fmla="*/ 268 h 54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567" h="544">
                <a:moveTo>
                  <a:pt x="0" y="385"/>
                </a:moveTo>
                <a:lnTo>
                  <a:pt x="23" y="340"/>
                </a:lnTo>
                <a:lnTo>
                  <a:pt x="23" y="272"/>
                </a:lnTo>
                <a:lnTo>
                  <a:pt x="114" y="204"/>
                </a:lnTo>
                <a:lnTo>
                  <a:pt x="136" y="158"/>
                </a:lnTo>
                <a:lnTo>
                  <a:pt x="114" y="113"/>
                </a:lnTo>
                <a:lnTo>
                  <a:pt x="159" y="90"/>
                </a:lnTo>
                <a:lnTo>
                  <a:pt x="159" y="45"/>
                </a:lnTo>
                <a:lnTo>
                  <a:pt x="250" y="0"/>
                </a:lnTo>
                <a:lnTo>
                  <a:pt x="272" y="45"/>
                </a:lnTo>
                <a:lnTo>
                  <a:pt x="340" y="45"/>
                </a:lnTo>
                <a:lnTo>
                  <a:pt x="363" y="68"/>
                </a:lnTo>
                <a:lnTo>
                  <a:pt x="363" y="113"/>
                </a:lnTo>
                <a:lnTo>
                  <a:pt x="408" y="136"/>
                </a:lnTo>
                <a:lnTo>
                  <a:pt x="431" y="113"/>
                </a:lnTo>
                <a:lnTo>
                  <a:pt x="454" y="136"/>
                </a:lnTo>
                <a:lnTo>
                  <a:pt x="476" y="90"/>
                </a:lnTo>
                <a:lnTo>
                  <a:pt x="476" y="68"/>
                </a:lnTo>
                <a:lnTo>
                  <a:pt x="499" y="45"/>
                </a:lnTo>
                <a:lnTo>
                  <a:pt x="544" y="45"/>
                </a:lnTo>
                <a:lnTo>
                  <a:pt x="567" y="90"/>
                </a:lnTo>
                <a:lnTo>
                  <a:pt x="522" y="113"/>
                </a:lnTo>
                <a:lnTo>
                  <a:pt x="499" y="136"/>
                </a:lnTo>
                <a:lnTo>
                  <a:pt x="476" y="158"/>
                </a:lnTo>
                <a:lnTo>
                  <a:pt x="499" y="181"/>
                </a:lnTo>
                <a:lnTo>
                  <a:pt x="454" y="181"/>
                </a:lnTo>
                <a:lnTo>
                  <a:pt x="431" y="204"/>
                </a:lnTo>
                <a:lnTo>
                  <a:pt x="454" y="204"/>
                </a:lnTo>
                <a:lnTo>
                  <a:pt x="454" y="226"/>
                </a:lnTo>
                <a:lnTo>
                  <a:pt x="431" y="226"/>
                </a:lnTo>
                <a:lnTo>
                  <a:pt x="454" y="249"/>
                </a:lnTo>
                <a:lnTo>
                  <a:pt x="431" y="317"/>
                </a:lnTo>
                <a:lnTo>
                  <a:pt x="386" y="294"/>
                </a:lnTo>
                <a:lnTo>
                  <a:pt x="318" y="294"/>
                </a:lnTo>
                <a:lnTo>
                  <a:pt x="272" y="272"/>
                </a:lnTo>
                <a:lnTo>
                  <a:pt x="250" y="294"/>
                </a:lnTo>
                <a:lnTo>
                  <a:pt x="272" y="317"/>
                </a:lnTo>
                <a:lnTo>
                  <a:pt x="227" y="340"/>
                </a:lnTo>
                <a:lnTo>
                  <a:pt x="159" y="476"/>
                </a:lnTo>
                <a:lnTo>
                  <a:pt x="182" y="544"/>
                </a:lnTo>
                <a:lnTo>
                  <a:pt x="136" y="544"/>
                </a:lnTo>
                <a:lnTo>
                  <a:pt x="68" y="521"/>
                </a:lnTo>
                <a:lnTo>
                  <a:pt x="45" y="453"/>
                </a:lnTo>
                <a:lnTo>
                  <a:pt x="0" y="430"/>
                </a:lnTo>
                <a:lnTo>
                  <a:pt x="0" y="385"/>
                </a:lnTo>
                <a:close/>
              </a:path>
            </a:pathLst>
          </a:custGeom>
          <a:solidFill>
            <a:srgbClr val="FF0000"/>
          </a:soli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8" name="Freeform 50"/>
          <p:cNvSpPr>
            <a:spLocks/>
          </p:cNvSpPr>
          <p:nvPr/>
        </p:nvSpPr>
        <p:spPr bwMode="auto">
          <a:xfrm>
            <a:off x="8182492" y="3032127"/>
            <a:ext cx="740532" cy="827087"/>
          </a:xfrm>
          <a:custGeom>
            <a:avLst/>
            <a:gdLst>
              <a:gd name="T0" fmla="*/ 157 w 544"/>
              <a:gd name="T1" fmla="*/ 16 h 749"/>
              <a:gd name="T2" fmla="*/ 142 w 544"/>
              <a:gd name="T3" fmla="*/ 16 h 749"/>
              <a:gd name="T4" fmla="*/ 110 w 544"/>
              <a:gd name="T5" fmla="*/ 47 h 749"/>
              <a:gd name="T6" fmla="*/ 110 w 544"/>
              <a:gd name="T7" fmla="*/ 95 h 749"/>
              <a:gd name="T8" fmla="*/ 95 w 544"/>
              <a:gd name="T9" fmla="*/ 111 h 749"/>
              <a:gd name="T10" fmla="*/ 79 w 544"/>
              <a:gd name="T11" fmla="*/ 174 h 749"/>
              <a:gd name="T12" fmla="*/ 0 w 544"/>
              <a:gd name="T13" fmla="*/ 268 h 749"/>
              <a:gd name="T14" fmla="*/ 15 w 544"/>
              <a:gd name="T15" fmla="*/ 331 h 749"/>
              <a:gd name="T16" fmla="*/ 0 w 544"/>
              <a:gd name="T17" fmla="*/ 426 h 749"/>
              <a:gd name="T18" fmla="*/ 15 w 544"/>
              <a:gd name="T19" fmla="*/ 458 h 749"/>
              <a:gd name="T20" fmla="*/ 63 w 544"/>
              <a:gd name="T21" fmla="*/ 458 h 749"/>
              <a:gd name="T22" fmla="*/ 79 w 544"/>
              <a:gd name="T23" fmla="*/ 474 h 749"/>
              <a:gd name="T24" fmla="*/ 79 w 544"/>
              <a:gd name="T25" fmla="*/ 505 h 749"/>
              <a:gd name="T26" fmla="*/ 110 w 544"/>
              <a:gd name="T27" fmla="*/ 521 h 749"/>
              <a:gd name="T28" fmla="*/ 126 w 544"/>
              <a:gd name="T29" fmla="*/ 505 h 749"/>
              <a:gd name="T30" fmla="*/ 142 w 544"/>
              <a:gd name="T31" fmla="*/ 521 h 749"/>
              <a:gd name="T32" fmla="*/ 157 w 544"/>
              <a:gd name="T33" fmla="*/ 489 h 749"/>
              <a:gd name="T34" fmla="*/ 157 w 544"/>
              <a:gd name="T35" fmla="*/ 474 h 749"/>
              <a:gd name="T36" fmla="*/ 173 w 544"/>
              <a:gd name="T37" fmla="*/ 458 h 749"/>
              <a:gd name="T38" fmla="*/ 205 w 544"/>
              <a:gd name="T39" fmla="*/ 458 h 749"/>
              <a:gd name="T40" fmla="*/ 237 w 544"/>
              <a:gd name="T41" fmla="*/ 474 h 749"/>
              <a:gd name="T42" fmla="*/ 237 w 544"/>
              <a:gd name="T43" fmla="*/ 442 h 749"/>
              <a:gd name="T44" fmla="*/ 252 w 544"/>
              <a:gd name="T45" fmla="*/ 458 h 749"/>
              <a:gd name="T46" fmla="*/ 268 w 544"/>
              <a:gd name="T47" fmla="*/ 442 h 749"/>
              <a:gd name="T48" fmla="*/ 300 w 544"/>
              <a:gd name="T49" fmla="*/ 426 h 749"/>
              <a:gd name="T50" fmla="*/ 300 w 544"/>
              <a:gd name="T51" fmla="*/ 394 h 749"/>
              <a:gd name="T52" fmla="*/ 332 w 544"/>
              <a:gd name="T53" fmla="*/ 347 h 749"/>
              <a:gd name="T54" fmla="*/ 332 w 544"/>
              <a:gd name="T55" fmla="*/ 331 h 749"/>
              <a:gd name="T56" fmla="*/ 363 w 544"/>
              <a:gd name="T57" fmla="*/ 316 h 749"/>
              <a:gd name="T58" fmla="*/ 363 w 544"/>
              <a:gd name="T59" fmla="*/ 284 h 749"/>
              <a:gd name="T60" fmla="*/ 348 w 544"/>
              <a:gd name="T61" fmla="*/ 284 h 749"/>
              <a:gd name="T62" fmla="*/ 379 w 544"/>
              <a:gd name="T63" fmla="*/ 221 h 749"/>
              <a:gd name="T64" fmla="*/ 363 w 544"/>
              <a:gd name="T65" fmla="*/ 189 h 749"/>
              <a:gd name="T66" fmla="*/ 379 w 544"/>
              <a:gd name="T67" fmla="*/ 158 h 749"/>
              <a:gd name="T68" fmla="*/ 348 w 544"/>
              <a:gd name="T69" fmla="*/ 142 h 749"/>
              <a:gd name="T70" fmla="*/ 348 w 544"/>
              <a:gd name="T71" fmla="*/ 127 h 749"/>
              <a:gd name="T72" fmla="*/ 363 w 544"/>
              <a:gd name="T73" fmla="*/ 111 h 749"/>
              <a:gd name="T74" fmla="*/ 348 w 544"/>
              <a:gd name="T75" fmla="*/ 95 h 749"/>
              <a:gd name="T76" fmla="*/ 363 w 544"/>
              <a:gd name="T77" fmla="*/ 79 h 749"/>
              <a:gd name="T78" fmla="*/ 363 w 544"/>
              <a:gd name="T79" fmla="*/ 32 h 749"/>
              <a:gd name="T80" fmla="*/ 348 w 544"/>
              <a:gd name="T81" fmla="*/ 0 h 749"/>
              <a:gd name="T82" fmla="*/ 190 w 544"/>
              <a:gd name="T83" fmla="*/ 0 h 749"/>
              <a:gd name="T84" fmla="*/ 157 w 544"/>
              <a:gd name="T85" fmla="*/ 16 h 74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44" h="749">
                <a:moveTo>
                  <a:pt x="226" y="23"/>
                </a:moveTo>
                <a:lnTo>
                  <a:pt x="204" y="23"/>
                </a:lnTo>
                <a:lnTo>
                  <a:pt x="158" y="68"/>
                </a:lnTo>
                <a:lnTo>
                  <a:pt x="158" y="136"/>
                </a:lnTo>
                <a:lnTo>
                  <a:pt x="136" y="159"/>
                </a:lnTo>
                <a:lnTo>
                  <a:pt x="113" y="250"/>
                </a:lnTo>
                <a:lnTo>
                  <a:pt x="0" y="386"/>
                </a:lnTo>
                <a:lnTo>
                  <a:pt x="22" y="476"/>
                </a:lnTo>
                <a:lnTo>
                  <a:pt x="0" y="613"/>
                </a:lnTo>
                <a:lnTo>
                  <a:pt x="22" y="658"/>
                </a:lnTo>
                <a:lnTo>
                  <a:pt x="90" y="658"/>
                </a:lnTo>
                <a:lnTo>
                  <a:pt x="113" y="681"/>
                </a:lnTo>
                <a:lnTo>
                  <a:pt x="113" y="726"/>
                </a:lnTo>
                <a:lnTo>
                  <a:pt x="158" y="749"/>
                </a:lnTo>
                <a:lnTo>
                  <a:pt x="181" y="726"/>
                </a:lnTo>
                <a:lnTo>
                  <a:pt x="204" y="749"/>
                </a:lnTo>
                <a:lnTo>
                  <a:pt x="226" y="703"/>
                </a:lnTo>
                <a:lnTo>
                  <a:pt x="226" y="681"/>
                </a:lnTo>
                <a:lnTo>
                  <a:pt x="249" y="658"/>
                </a:lnTo>
                <a:lnTo>
                  <a:pt x="294" y="658"/>
                </a:lnTo>
                <a:lnTo>
                  <a:pt x="340" y="681"/>
                </a:lnTo>
                <a:lnTo>
                  <a:pt x="340" y="635"/>
                </a:lnTo>
                <a:lnTo>
                  <a:pt x="362" y="658"/>
                </a:lnTo>
                <a:lnTo>
                  <a:pt x="385" y="635"/>
                </a:lnTo>
                <a:lnTo>
                  <a:pt x="431" y="613"/>
                </a:lnTo>
                <a:lnTo>
                  <a:pt x="431" y="567"/>
                </a:lnTo>
                <a:lnTo>
                  <a:pt x="476" y="499"/>
                </a:lnTo>
                <a:lnTo>
                  <a:pt x="476" y="476"/>
                </a:lnTo>
                <a:lnTo>
                  <a:pt x="521" y="454"/>
                </a:lnTo>
                <a:lnTo>
                  <a:pt x="521" y="408"/>
                </a:lnTo>
                <a:lnTo>
                  <a:pt x="499" y="408"/>
                </a:lnTo>
                <a:lnTo>
                  <a:pt x="544" y="318"/>
                </a:lnTo>
                <a:lnTo>
                  <a:pt x="521" y="272"/>
                </a:lnTo>
                <a:lnTo>
                  <a:pt x="544" y="227"/>
                </a:lnTo>
                <a:lnTo>
                  <a:pt x="499" y="204"/>
                </a:lnTo>
                <a:lnTo>
                  <a:pt x="499" y="182"/>
                </a:lnTo>
                <a:lnTo>
                  <a:pt x="521" y="159"/>
                </a:lnTo>
                <a:lnTo>
                  <a:pt x="499" y="136"/>
                </a:lnTo>
                <a:lnTo>
                  <a:pt x="521" y="114"/>
                </a:lnTo>
                <a:lnTo>
                  <a:pt x="521" y="46"/>
                </a:lnTo>
                <a:lnTo>
                  <a:pt x="499" y="0"/>
                </a:lnTo>
                <a:lnTo>
                  <a:pt x="272" y="0"/>
                </a:lnTo>
                <a:lnTo>
                  <a:pt x="226" y="23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39" name="Freeform 51"/>
          <p:cNvSpPr>
            <a:spLocks/>
          </p:cNvSpPr>
          <p:nvPr/>
        </p:nvSpPr>
        <p:spPr bwMode="auto">
          <a:xfrm>
            <a:off x="7998822" y="2378075"/>
            <a:ext cx="924200" cy="679450"/>
          </a:xfrm>
          <a:custGeom>
            <a:avLst/>
            <a:gdLst>
              <a:gd name="T0" fmla="*/ 346 w 680"/>
              <a:gd name="T1" fmla="*/ 0 h 613"/>
              <a:gd name="T2" fmla="*/ 299 w 680"/>
              <a:gd name="T3" fmla="*/ 32 h 613"/>
              <a:gd name="T4" fmla="*/ 268 w 680"/>
              <a:gd name="T5" fmla="*/ 127 h 613"/>
              <a:gd name="T6" fmla="*/ 346 w 680"/>
              <a:gd name="T7" fmla="*/ 111 h 613"/>
              <a:gd name="T8" fmla="*/ 378 w 680"/>
              <a:gd name="T9" fmla="*/ 80 h 613"/>
              <a:gd name="T10" fmla="*/ 410 w 680"/>
              <a:gd name="T11" fmla="*/ 127 h 613"/>
              <a:gd name="T12" fmla="*/ 378 w 680"/>
              <a:gd name="T13" fmla="*/ 206 h 613"/>
              <a:gd name="T14" fmla="*/ 346 w 680"/>
              <a:gd name="T15" fmla="*/ 238 h 613"/>
              <a:gd name="T16" fmla="*/ 299 w 680"/>
              <a:gd name="T17" fmla="*/ 175 h 613"/>
              <a:gd name="T18" fmla="*/ 284 w 680"/>
              <a:gd name="T19" fmla="*/ 206 h 613"/>
              <a:gd name="T20" fmla="*/ 252 w 680"/>
              <a:gd name="T21" fmla="*/ 222 h 613"/>
              <a:gd name="T22" fmla="*/ 221 w 680"/>
              <a:gd name="T23" fmla="*/ 206 h 613"/>
              <a:gd name="T24" fmla="*/ 237 w 680"/>
              <a:gd name="T25" fmla="*/ 111 h 613"/>
              <a:gd name="T26" fmla="*/ 237 w 680"/>
              <a:gd name="T27" fmla="*/ 96 h 613"/>
              <a:gd name="T28" fmla="*/ 221 w 680"/>
              <a:gd name="T29" fmla="*/ 80 h 613"/>
              <a:gd name="T30" fmla="*/ 205 w 680"/>
              <a:gd name="T31" fmla="*/ 96 h 613"/>
              <a:gd name="T32" fmla="*/ 173 w 680"/>
              <a:gd name="T33" fmla="*/ 64 h 613"/>
              <a:gd name="T34" fmla="*/ 157 w 680"/>
              <a:gd name="T35" fmla="*/ 96 h 613"/>
              <a:gd name="T36" fmla="*/ 157 w 680"/>
              <a:gd name="T37" fmla="*/ 111 h 613"/>
              <a:gd name="T38" fmla="*/ 142 w 680"/>
              <a:gd name="T39" fmla="*/ 158 h 613"/>
              <a:gd name="T40" fmla="*/ 110 w 680"/>
              <a:gd name="T41" fmla="*/ 206 h 613"/>
              <a:gd name="T42" fmla="*/ 63 w 680"/>
              <a:gd name="T43" fmla="*/ 222 h 613"/>
              <a:gd name="T44" fmla="*/ 47 w 680"/>
              <a:gd name="T45" fmla="*/ 206 h 613"/>
              <a:gd name="T46" fmla="*/ 0 w 680"/>
              <a:gd name="T47" fmla="*/ 238 h 613"/>
              <a:gd name="T48" fmla="*/ 15 w 680"/>
              <a:gd name="T49" fmla="*/ 253 h 613"/>
              <a:gd name="T50" fmla="*/ 0 w 680"/>
              <a:gd name="T51" fmla="*/ 286 h 613"/>
              <a:gd name="T52" fmla="*/ 79 w 680"/>
              <a:gd name="T53" fmla="*/ 333 h 613"/>
              <a:gd name="T54" fmla="*/ 142 w 680"/>
              <a:gd name="T55" fmla="*/ 317 h 613"/>
              <a:gd name="T56" fmla="*/ 173 w 680"/>
              <a:gd name="T57" fmla="*/ 348 h 613"/>
              <a:gd name="T58" fmla="*/ 237 w 680"/>
              <a:gd name="T59" fmla="*/ 333 h 613"/>
              <a:gd name="T60" fmla="*/ 252 w 680"/>
              <a:gd name="T61" fmla="*/ 381 h 613"/>
              <a:gd name="T62" fmla="*/ 237 w 680"/>
              <a:gd name="T63" fmla="*/ 412 h 613"/>
              <a:gd name="T64" fmla="*/ 252 w 680"/>
              <a:gd name="T65" fmla="*/ 428 h 613"/>
              <a:gd name="T66" fmla="*/ 284 w 680"/>
              <a:gd name="T67" fmla="*/ 412 h 613"/>
              <a:gd name="T68" fmla="*/ 442 w 680"/>
              <a:gd name="T69" fmla="*/ 412 h 613"/>
              <a:gd name="T70" fmla="*/ 426 w 680"/>
              <a:gd name="T71" fmla="*/ 381 h 613"/>
              <a:gd name="T72" fmla="*/ 394 w 680"/>
              <a:gd name="T73" fmla="*/ 364 h 613"/>
              <a:gd name="T74" fmla="*/ 394 w 680"/>
              <a:gd name="T75" fmla="*/ 301 h 613"/>
              <a:gd name="T76" fmla="*/ 426 w 680"/>
              <a:gd name="T77" fmla="*/ 143 h 613"/>
              <a:gd name="T78" fmla="*/ 473 w 680"/>
              <a:gd name="T79" fmla="*/ 80 h 613"/>
              <a:gd name="T80" fmla="*/ 457 w 680"/>
              <a:gd name="T81" fmla="*/ 80 h 613"/>
              <a:gd name="T82" fmla="*/ 426 w 680"/>
              <a:gd name="T83" fmla="*/ 80 h 613"/>
              <a:gd name="T84" fmla="*/ 378 w 680"/>
              <a:gd name="T85" fmla="*/ 48 h 613"/>
              <a:gd name="T86" fmla="*/ 378 w 680"/>
              <a:gd name="T87" fmla="*/ 32 h 613"/>
              <a:gd name="T88" fmla="*/ 346 w 680"/>
              <a:gd name="T89" fmla="*/ 0 h 61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680" h="613">
                <a:moveTo>
                  <a:pt x="498" y="0"/>
                </a:moveTo>
                <a:lnTo>
                  <a:pt x="430" y="46"/>
                </a:lnTo>
                <a:lnTo>
                  <a:pt x="385" y="182"/>
                </a:lnTo>
                <a:lnTo>
                  <a:pt x="498" y="159"/>
                </a:lnTo>
                <a:lnTo>
                  <a:pt x="544" y="114"/>
                </a:lnTo>
                <a:lnTo>
                  <a:pt x="589" y="182"/>
                </a:lnTo>
                <a:lnTo>
                  <a:pt x="544" y="295"/>
                </a:lnTo>
                <a:lnTo>
                  <a:pt x="498" y="341"/>
                </a:lnTo>
                <a:lnTo>
                  <a:pt x="430" y="250"/>
                </a:lnTo>
                <a:lnTo>
                  <a:pt x="408" y="295"/>
                </a:lnTo>
                <a:lnTo>
                  <a:pt x="362" y="318"/>
                </a:lnTo>
                <a:lnTo>
                  <a:pt x="317" y="295"/>
                </a:lnTo>
                <a:lnTo>
                  <a:pt x="340" y="159"/>
                </a:lnTo>
                <a:lnTo>
                  <a:pt x="340" y="137"/>
                </a:lnTo>
                <a:lnTo>
                  <a:pt x="317" y="114"/>
                </a:lnTo>
                <a:lnTo>
                  <a:pt x="294" y="137"/>
                </a:lnTo>
                <a:lnTo>
                  <a:pt x="249" y="91"/>
                </a:lnTo>
                <a:lnTo>
                  <a:pt x="226" y="137"/>
                </a:lnTo>
                <a:lnTo>
                  <a:pt x="226" y="159"/>
                </a:lnTo>
                <a:lnTo>
                  <a:pt x="204" y="227"/>
                </a:lnTo>
                <a:lnTo>
                  <a:pt x="158" y="295"/>
                </a:lnTo>
                <a:lnTo>
                  <a:pt x="90" y="318"/>
                </a:lnTo>
                <a:lnTo>
                  <a:pt x="68" y="295"/>
                </a:lnTo>
                <a:lnTo>
                  <a:pt x="0" y="341"/>
                </a:lnTo>
                <a:lnTo>
                  <a:pt x="22" y="363"/>
                </a:lnTo>
                <a:lnTo>
                  <a:pt x="0" y="409"/>
                </a:lnTo>
                <a:lnTo>
                  <a:pt x="113" y="477"/>
                </a:lnTo>
                <a:lnTo>
                  <a:pt x="204" y="454"/>
                </a:lnTo>
                <a:lnTo>
                  <a:pt x="249" y="499"/>
                </a:lnTo>
                <a:lnTo>
                  <a:pt x="340" y="477"/>
                </a:lnTo>
                <a:lnTo>
                  <a:pt x="362" y="545"/>
                </a:lnTo>
                <a:lnTo>
                  <a:pt x="340" y="590"/>
                </a:lnTo>
                <a:lnTo>
                  <a:pt x="362" y="613"/>
                </a:lnTo>
                <a:lnTo>
                  <a:pt x="408" y="590"/>
                </a:lnTo>
                <a:lnTo>
                  <a:pt x="635" y="590"/>
                </a:lnTo>
                <a:lnTo>
                  <a:pt x="612" y="545"/>
                </a:lnTo>
                <a:lnTo>
                  <a:pt x="567" y="522"/>
                </a:lnTo>
                <a:lnTo>
                  <a:pt x="567" y="431"/>
                </a:lnTo>
                <a:lnTo>
                  <a:pt x="612" y="205"/>
                </a:lnTo>
                <a:lnTo>
                  <a:pt x="680" y="114"/>
                </a:lnTo>
                <a:lnTo>
                  <a:pt x="657" y="114"/>
                </a:lnTo>
                <a:lnTo>
                  <a:pt x="612" y="114"/>
                </a:lnTo>
                <a:lnTo>
                  <a:pt x="544" y="69"/>
                </a:lnTo>
                <a:lnTo>
                  <a:pt x="544" y="46"/>
                </a:lnTo>
                <a:lnTo>
                  <a:pt x="498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40" name="Freeform 52"/>
          <p:cNvSpPr>
            <a:spLocks/>
          </p:cNvSpPr>
          <p:nvPr/>
        </p:nvSpPr>
        <p:spPr bwMode="auto">
          <a:xfrm>
            <a:off x="6359528" y="3784655"/>
            <a:ext cx="1266135" cy="827087"/>
          </a:xfrm>
          <a:custGeom>
            <a:avLst/>
            <a:gdLst>
              <a:gd name="T0" fmla="*/ 585 w 930"/>
              <a:gd name="T1" fmla="*/ 0 h 748"/>
              <a:gd name="T2" fmla="*/ 553 w 930"/>
              <a:gd name="T3" fmla="*/ 79 h 748"/>
              <a:gd name="T4" fmla="*/ 506 w 930"/>
              <a:gd name="T5" fmla="*/ 142 h 748"/>
              <a:gd name="T6" fmla="*/ 348 w 930"/>
              <a:gd name="T7" fmla="*/ 173 h 748"/>
              <a:gd name="T8" fmla="*/ 316 w 930"/>
              <a:gd name="T9" fmla="*/ 252 h 748"/>
              <a:gd name="T10" fmla="*/ 143 w 930"/>
              <a:gd name="T11" fmla="*/ 363 h 748"/>
              <a:gd name="T12" fmla="*/ 79 w 930"/>
              <a:gd name="T13" fmla="*/ 363 h 748"/>
              <a:gd name="T14" fmla="*/ 0 w 930"/>
              <a:gd name="T15" fmla="*/ 379 h 748"/>
              <a:gd name="T16" fmla="*/ 0 w 930"/>
              <a:gd name="T17" fmla="*/ 458 h 748"/>
              <a:gd name="T18" fmla="*/ 48 w 930"/>
              <a:gd name="T19" fmla="*/ 426 h 748"/>
              <a:gd name="T20" fmla="*/ 79 w 930"/>
              <a:gd name="T21" fmla="*/ 426 h 748"/>
              <a:gd name="T22" fmla="*/ 79 w 930"/>
              <a:gd name="T23" fmla="*/ 458 h 748"/>
              <a:gd name="T24" fmla="*/ 143 w 930"/>
              <a:gd name="T25" fmla="*/ 442 h 748"/>
              <a:gd name="T26" fmla="*/ 190 w 930"/>
              <a:gd name="T27" fmla="*/ 410 h 748"/>
              <a:gd name="T28" fmla="*/ 222 w 930"/>
              <a:gd name="T29" fmla="*/ 426 h 748"/>
              <a:gd name="T30" fmla="*/ 206 w 930"/>
              <a:gd name="T31" fmla="*/ 474 h 748"/>
              <a:gd name="T32" fmla="*/ 238 w 930"/>
              <a:gd name="T33" fmla="*/ 490 h 748"/>
              <a:gd name="T34" fmla="*/ 238 w 930"/>
              <a:gd name="T35" fmla="*/ 521 h 748"/>
              <a:gd name="T36" fmla="*/ 316 w 930"/>
              <a:gd name="T37" fmla="*/ 490 h 748"/>
              <a:gd name="T38" fmla="*/ 316 w 930"/>
              <a:gd name="T39" fmla="*/ 458 h 748"/>
              <a:gd name="T40" fmla="*/ 348 w 930"/>
              <a:gd name="T41" fmla="*/ 458 h 748"/>
              <a:gd name="T42" fmla="*/ 364 w 930"/>
              <a:gd name="T43" fmla="*/ 505 h 748"/>
              <a:gd name="T44" fmla="*/ 395 w 930"/>
              <a:gd name="T45" fmla="*/ 505 h 748"/>
              <a:gd name="T46" fmla="*/ 395 w 930"/>
              <a:gd name="T47" fmla="*/ 426 h 748"/>
              <a:gd name="T48" fmla="*/ 411 w 930"/>
              <a:gd name="T49" fmla="*/ 410 h 748"/>
              <a:gd name="T50" fmla="*/ 395 w 930"/>
              <a:gd name="T51" fmla="*/ 363 h 748"/>
              <a:gd name="T52" fmla="*/ 427 w 930"/>
              <a:gd name="T53" fmla="*/ 332 h 748"/>
              <a:gd name="T54" fmla="*/ 475 w 930"/>
              <a:gd name="T55" fmla="*/ 332 h 748"/>
              <a:gd name="T56" fmla="*/ 506 w 930"/>
              <a:gd name="T57" fmla="*/ 332 h 748"/>
              <a:gd name="T58" fmla="*/ 522 w 930"/>
              <a:gd name="T59" fmla="*/ 300 h 748"/>
              <a:gd name="T60" fmla="*/ 553 w 930"/>
              <a:gd name="T61" fmla="*/ 252 h 748"/>
              <a:gd name="T62" fmla="*/ 538 w 930"/>
              <a:gd name="T63" fmla="*/ 205 h 748"/>
              <a:gd name="T64" fmla="*/ 569 w 930"/>
              <a:gd name="T65" fmla="*/ 157 h 748"/>
              <a:gd name="T66" fmla="*/ 601 w 930"/>
              <a:gd name="T67" fmla="*/ 126 h 748"/>
              <a:gd name="T68" fmla="*/ 633 w 930"/>
              <a:gd name="T69" fmla="*/ 126 h 748"/>
              <a:gd name="T70" fmla="*/ 648 w 930"/>
              <a:gd name="T71" fmla="*/ 79 h 748"/>
              <a:gd name="T72" fmla="*/ 617 w 930"/>
              <a:gd name="T73" fmla="*/ 63 h 748"/>
              <a:gd name="T74" fmla="*/ 617 w 930"/>
              <a:gd name="T75" fmla="*/ 31 h 748"/>
              <a:gd name="T76" fmla="*/ 585 w 930"/>
              <a:gd name="T77" fmla="*/ 0 h 74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30" h="748">
                <a:moveTo>
                  <a:pt x="840" y="0"/>
                </a:moveTo>
                <a:lnTo>
                  <a:pt x="794" y="113"/>
                </a:lnTo>
                <a:lnTo>
                  <a:pt x="726" y="204"/>
                </a:lnTo>
                <a:lnTo>
                  <a:pt x="499" y="249"/>
                </a:lnTo>
                <a:lnTo>
                  <a:pt x="454" y="362"/>
                </a:lnTo>
                <a:lnTo>
                  <a:pt x="205" y="521"/>
                </a:lnTo>
                <a:lnTo>
                  <a:pt x="114" y="521"/>
                </a:lnTo>
                <a:lnTo>
                  <a:pt x="0" y="544"/>
                </a:lnTo>
                <a:lnTo>
                  <a:pt x="0" y="657"/>
                </a:lnTo>
                <a:lnTo>
                  <a:pt x="69" y="612"/>
                </a:lnTo>
                <a:lnTo>
                  <a:pt x="114" y="612"/>
                </a:lnTo>
                <a:lnTo>
                  <a:pt x="114" y="657"/>
                </a:lnTo>
                <a:lnTo>
                  <a:pt x="205" y="635"/>
                </a:lnTo>
                <a:lnTo>
                  <a:pt x="273" y="589"/>
                </a:lnTo>
                <a:lnTo>
                  <a:pt x="318" y="612"/>
                </a:lnTo>
                <a:lnTo>
                  <a:pt x="295" y="680"/>
                </a:lnTo>
                <a:lnTo>
                  <a:pt x="341" y="703"/>
                </a:lnTo>
                <a:lnTo>
                  <a:pt x="341" y="748"/>
                </a:lnTo>
                <a:lnTo>
                  <a:pt x="454" y="703"/>
                </a:lnTo>
                <a:lnTo>
                  <a:pt x="454" y="657"/>
                </a:lnTo>
                <a:lnTo>
                  <a:pt x="499" y="657"/>
                </a:lnTo>
                <a:lnTo>
                  <a:pt x="522" y="725"/>
                </a:lnTo>
                <a:lnTo>
                  <a:pt x="567" y="725"/>
                </a:lnTo>
                <a:lnTo>
                  <a:pt x="567" y="612"/>
                </a:lnTo>
                <a:lnTo>
                  <a:pt x="590" y="589"/>
                </a:lnTo>
                <a:lnTo>
                  <a:pt x="567" y="521"/>
                </a:lnTo>
                <a:lnTo>
                  <a:pt x="613" y="476"/>
                </a:lnTo>
                <a:lnTo>
                  <a:pt x="681" y="476"/>
                </a:lnTo>
                <a:lnTo>
                  <a:pt x="726" y="476"/>
                </a:lnTo>
                <a:lnTo>
                  <a:pt x="749" y="430"/>
                </a:lnTo>
                <a:lnTo>
                  <a:pt x="794" y="362"/>
                </a:lnTo>
                <a:lnTo>
                  <a:pt x="772" y="294"/>
                </a:lnTo>
                <a:lnTo>
                  <a:pt x="817" y="226"/>
                </a:lnTo>
                <a:lnTo>
                  <a:pt x="862" y="181"/>
                </a:lnTo>
                <a:lnTo>
                  <a:pt x="908" y="181"/>
                </a:lnTo>
                <a:lnTo>
                  <a:pt x="930" y="113"/>
                </a:lnTo>
                <a:lnTo>
                  <a:pt x="885" y="90"/>
                </a:lnTo>
                <a:lnTo>
                  <a:pt x="885" y="45"/>
                </a:lnTo>
                <a:lnTo>
                  <a:pt x="840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41" name="Freeform 53"/>
          <p:cNvSpPr>
            <a:spLocks/>
          </p:cNvSpPr>
          <p:nvPr/>
        </p:nvSpPr>
        <p:spPr bwMode="auto">
          <a:xfrm>
            <a:off x="7410695" y="3533783"/>
            <a:ext cx="656515" cy="727075"/>
          </a:xfrm>
          <a:custGeom>
            <a:avLst/>
            <a:gdLst>
              <a:gd name="T0" fmla="*/ 192 w 476"/>
              <a:gd name="T1" fmla="*/ 0 h 657"/>
              <a:gd name="T2" fmla="*/ 144 w 476"/>
              <a:gd name="T3" fmla="*/ 63 h 657"/>
              <a:gd name="T4" fmla="*/ 128 w 476"/>
              <a:gd name="T5" fmla="*/ 95 h 657"/>
              <a:gd name="T6" fmla="*/ 80 w 476"/>
              <a:gd name="T7" fmla="*/ 126 h 657"/>
              <a:gd name="T8" fmla="*/ 48 w 476"/>
              <a:gd name="T9" fmla="*/ 158 h 657"/>
              <a:gd name="T10" fmla="*/ 80 w 476"/>
              <a:gd name="T11" fmla="*/ 190 h 657"/>
              <a:gd name="T12" fmla="*/ 80 w 476"/>
              <a:gd name="T13" fmla="*/ 221 h 657"/>
              <a:gd name="T14" fmla="*/ 112 w 476"/>
              <a:gd name="T15" fmla="*/ 237 h 657"/>
              <a:gd name="T16" fmla="*/ 96 w 476"/>
              <a:gd name="T17" fmla="*/ 284 h 657"/>
              <a:gd name="T18" fmla="*/ 64 w 476"/>
              <a:gd name="T19" fmla="*/ 284 h 657"/>
              <a:gd name="T20" fmla="*/ 32 w 476"/>
              <a:gd name="T21" fmla="*/ 316 h 657"/>
              <a:gd name="T22" fmla="*/ 0 w 476"/>
              <a:gd name="T23" fmla="*/ 363 h 657"/>
              <a:gd name="T24" fmla="*/ 16 w 476"/>
              <a:gd name="T25" fmla="*/ 411 h 657"/>
              <a:gd name="T26" fmla="*/ 48 w 476"/>
              <a:gd name="T27" fmla="*/ 411 h 657"/>
              <a:gd name="T28" fmla="*/ 112 w 476"/>
              <a:gd name="T29" fmla="*/ 458 h 657"/>
              <a:gd name="T30" fmla="*/ 144 w 476"/>
              <a:gd name="T31" fmla="*/ 458 h 657"/>
              <a:gd name="T32" fmla="*/ 160 w 476"/>
              <a:gd name="T33" fmla="*/ 427 h 657"/>
              <a:gd name="T34" fmla="*/ 176 w 476"/>
              <a:gd name="T35" fmla="*/ 411 h 657"/>
              <a:gd name="T36" fmla="*/ 192 w 476"/>
              <a:gd name="T37" fmla="*/ 348 h 657"/>
              <a:gd name="T38" fmla="*/ 208 w 476"/>
              <a:gd name="T39" fmla="*/ 348 h 657"/>
              <a:gd name="T40" fmla="*/ 224 w 476"/>
              <a:gd name="T41" fmla="*/ 379 h 657"/>
              <a:gd name="T42" fmla="*/ 240 w 476"/>
              <a:gd name="T43" fmla="*/ 348 h 657"/>
              <a:gd name="T44" fmla="*/ 240 w 476"/>
              <a:gd name="T45" fmla="*/ 300 h 657"/>
              <a:gd name="T46" fmla="*/ 304 w 476"/>
              <a:gd name="T47" fmla="*/ 253 h 657"/>
              <a:gd name="T48" fmla="*/ 320 w 476"/>
              <a:gd name="T49" fmla="*/ 221 h 657"/>
              <a:gd name="T50" fmla="*/ 304 w 476"/>
              <a:gd name="T51" fmla="*/ 190 h 657"/>
              <a:gd name="T52" fmla="*/ 336 w 476"/>
              <a:gd name="T53" fmla="*/ 174 h 657"/>
              <a:gd name="T54" fmla="*/ 336 w 476"/>
              <a:gd name="T55" fmla="*/ 142 h 657"/>
              <a:gd name="T56" fmla="*/ 304 w 476"/>
              <a:gd name="T57" fmla="*/ 95 h 657"/>
              <a:gd name="T58" fmla="*/ 304 w 476"/>
              <a:gd name="T59" fmla="*/ 63 h 657"/>
              <a:gd name="T60" fmla="*/ 224 w 476"/>
              <a:gd name="T61" fmla="*/ 0 h 657"/>
              <a:gd name="T62" fmla="*/ 192 w 476"/>
              <a:gd name="T63" fmla="*/ 0 h 65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476" h="657">
                <a:moveTo>
                  <a:pt x="272" y="0"/>
                </a:moveTo>
                <a:lnTo>
                  <a:pt x="204" y="90"/>
                </a:lnTo>
                <a:lnTo>
                  <a:pt x="181" y="136"/>
                </a:lnTo>
                <a:lnTo>
                  <a:pt x="113" y="181"/>
                </a:lnTo>
                <a:lnTo>
                  <a:pt x="68" y="227"/>
                </a:lnTo>
                <a:lnTo>
                  <a:pt x="113" y="272"/>
                </a:lnTo>
                <a:lnTo>
                  <a:pt x="113" y="317"/>
                </a:lnTo>
                <a:lnTo>
                  <a:pt x="158" y="340"/>
                </a:lnTo>
                <a:lnTo>
                  <a:pt x="136" y="408"/>
                </a:lnTo>
                <a:lnTo>
                  <a:pt x="90" y="408"/>
                </a:lnTo>
                <a:lnTo>
                  <a:pt x="45" y="453"/>
                </a:lnTo>
                <a:lnTo>
                  <a:pt x="0" y="521"/>
                </a:lnTo>
                <a:lnTo>
                  <a:pt x="22" y="589"/>
                </a:lnTo>
                <a:lnTo>
                  <a:pt x="68" y="589"/>
                </a:lnTo>
                <a:lnTo>
                  <a:pt x="158" y="657"/>
                </a:lnTo>
                <a:lnTo>
                  <a:pt x="204" y="657"/>
                </a:lnTo>
                <a:lnTo>
                  <a:pt x="226" y="612"/>
                </a:lnTo>
                <a:lnTo>
                  <a:pt x="249" y="589"/>
                </a:lnTo>
                <a:lnTo>
                  <a:pt x="272" y="499"/>
                </a:lnTo>
                <a:lnTo>
                  <a:pt x="294" y="499"/>
                </a:lnTo>
                <a:lnTo>
                  <a:pt x="317" y="544"/>
                </a:lnTo>
                <a:lnTo>
                  <a:pt x="340" y="499"/>
                </a:lnTo>
                <a:lnTo>
                  <a:pt x="340" y="431"/>
                </a:lnTo>
                <a:lnTo>
                  <a:pt x="431" y="363"/>
                </a:lnTo>
                <a:lnTo>
                  <a:pt x="453" y="317"/>
                </a:lnTo>
                <a:lnTo>
                  <a:pt x="431" y="272"/>
                </a:lnTo>
                <a:lnTo>
                  <a:pt x="476" y="249"/>
                </a:lnTo>
                <a:lnTo>
                  <a:pt x="476" y="204"/>
                </a:lnTo>
                <a:lnTo>
                  <a:pt x="431" y="136"/>
                </a:lnTo>
                <a:lnTo>
                  <a:pt x="431" y="90"/>
                </a:lnTo>
                <a:lnTo>
                  <a:pt x="317" y="0"/>
                </a:lnTo>
                <a:lnTo>
                  <a:pt x="272" y="0"/>
                </a:lnTo>
                <a:close/>
              </a:path>
            </a:pathLst>
          </a:custGeom>
          <a:gradFill rotWithShape="1">
            <a:gsLst>
              <a:gs pos="0">
                <a:schemeClr val="folHlink"/>
              </a:gs>
              <a:gs pos="100000">
                <a:srgbClr val="D7AED7"/>
              </a:gs>
            </a:gsLst>
            <a:lin ang="18900000" scaled="1"/>
          </a:gradFill>
          <a:ln w="6350" cap="flat">
            <a:solidFill>
              <a:srgbClr val="003300"/>
            </a:solidFill>
            <a:prstDash val="sys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42" name="Freeform 54"/>
          <p:cNvSpPr>
            <a:spLocks/>
          </p:cNvSpPr>
          <p:nvPr/>
        </p:nvSpPr>
        <p:spPr bwMode="auto">
          <a:xfrm>
            <a:off x="1574399" y="3937000"/>
            <a:ext cx="1914833" cy="876300"/>
          </a:xfrm>
          <a:custGeom>
            <a:avLst/>
            <a:gdLst>
              <a:gd name="T0" fmla="*/ 0 w 1406"/>
              <a:gd name="T1" fmla="*/ 552 h 793"/>
              <a:gd name="T2" fmla="*/ 427 w 1406"/>
              <a:gd name="T3" fmla="*/ 552 h 793"/>
              <a:gd name="T4" fmla="*/ 980 w 1406"/>
              <a:gd name="T5" fmla="*/ 0 h 79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06" h="793">
                <a:moveTo>
                  <a:pt x="0" y="793"/>
                </a:moveTo>
                <a:lnTo>
                  <a:pt x="613" y="793"/>
                </a:lnTo>
                <a:lnTo>
                  <a:pt x="1406" y="0"/>
                </a:lnTo>
              </a:path>
            </a:pathLst>
          </a:custGeom>
          <a:noFill/>
          <a:ln w="25400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charset="0"/>
              <a:ea typeface="Osaka" pitchFamily="32" charset="-128"/>
              <a:cs typeface="+mn-cs"/>
            </a:endParaRPr>
          </a:p>
        </p:txBody>
      </p:sp>
      <p:sp>
        <p:nvSpPr>
          <p:cNvPr id="12393" name="Text Box 105"/>
          <p:cNvSpPr txBox="1">
            <a:spLocks noChangeArrowheads="1"/>
          </p:cNvSpPr>
          <p:nvPr/>
        </p:nvSpPr>
        <p:spPr bwMode="auto">
          <a:xfrm>
            <a:off x="2079499" y="399223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沖縄</a:t>
            </a:r>
          </a:p>
        </p:txBody>
      </p:sp>
      <p:sp>
        <p:nvSpPr>
          <p:cNvPr id="12394" name="Text Box 106"/>
          <p:cNvSpPr txBox="1">
            <a:spLocks noChangeArrowheads="1"/>
          </p:cNvSpPr>
          <p:nvPr/>
        </p:nvSpPr>
        <p:spPr bwMode="auto">
          <a:xfrm>
            <a:off x="9697249" y="1412875"/>
            <a:ext cx="4924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北海道</a:t>
            </a:r>
          </a:p>
        </p:txBody>
      </p:sp>
      <p:sp>
        <p:nvSpPr>
          <p:cNvPr id="12395" name="Text Box 107"/>
          <p:cNvSpPr txBox="1">
            <a:spLocks noChangeArrowheads="1"/>
          </p:cNvSpPr>
          <p:nvPr/>
        </p:nvSpPr>
        <p:spPr bwMode="auto">
          <a:xfrm>
            <a:off x="2257317" y="5073378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福岡</a:t>
            </a:r>
          </a:p>
        </p:txBody>
      </p:sp>
      <p:sp>
        <p:nvSpPr>
          <p:cNvPr id="12396" name="Text Box 108"/>
          <p:cNvSpPr txBox="1">
            <a:spLocks noChangeArrowheads="1"/>
          </p:cNvSpPr>
          <p:nvPr/>
        </p:nvSpPr>
        <p:spPr bwMode="auto">
          <a:xfrm>
            <a:off x="1901683" y="514481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佐賀</a:t>
            </a:r>
          </a:p>
        </p:txBody>
      </p:sp>
      <p:sp>
        <p:nvSpPr>
          <p:cNvPr id="12397" name="Text Box 109"/>
          <p:cNvSpPr txBox="1">
            <a:spLocks noChangeArrowheads="1"/>
          </p:cNvSpPr>
          <p:nvPr/>
        </p:nvSpPr>
        <p:spPr bwMode="auto">
          <a:xfrm>
            <a:off x="1680878" y="5397228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長崎</a:t>
            </a:r>
          </a:p>
        </p:txBody>
      </p:sp>
      <p:sp>
        <p:nvSpPr>
          <p:cNvPr id="12398" name="Text Box 110"/>
          <p:cNvSpPr txBox="1">
            <a:spLocks noChangeArrowheads="1"/>
          </p:cNvSpPr>
          <p:nvPr/>
        </p:nvSpPr>
        <p:spPr bwMode="auto">
          <a:xfrm>
            <a:off x="3550367" y="5553075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高知</a:t>
            </a:r>
          </a:p>
        </p:txBody>
      </p:sp>
      <p:sp>
        <p:nvSpPr>
          <p:cNvPr id="12399" name="Text Box 111"/>
          <p:cNvSpPr txBox="1">
            <a:spLocks noChangeArrowheads="1"/>
          </p:cNvSpPr>
          <p:nvPr/>
        </p:nvSpPr>
        <p:spPr bwMode="auto">
          <a:xfrm>
            <a:off x="2700881" y="482096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山口</a:t>
            </a:r>
          </a:p>
        </p:txBody>
      </p:sp>
      <p:sp>
        <p:nvSpPr>
          <p:cNvPr id="12400" name="Text Box 112"/>
          <p:cNvSpPr txBox="1">
            <a:spLocks noChangeArrowheads="1"/>
          </p:cNvSpPr>
          <p:nvPr/>
        </p:nvSpPr>
        <p:spPr bwMode="auto">
          <a:xfrm>
            <a:off x="3997839" y="4868863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岡山</a:t>
            </a:r>
          </a:p>
        </p:txBody>
      </p:sp>
      <p:sp>
        <p:nvSpPr>
          <p:cNvPr id="12401" name="Text Box 113"/>
          <p:cNvSpPr txBox="1">
            <a:spLocks noChangeArrowheads="1"/>
          </p:cNvSpPr>
          <p:nvPr/>
        </p:nvSpPr>
        <p:spPr bwMode="auto">
          <a:xfrm>
            <a:off x="3420423" y="4941888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広島</a:t>
            </a:r>
          </a:p>
        </p:txBody>
      </p:sp>
      <p:sp>
        <p:nvSpPr>
          <p:cNvPr id="12402" name="Text Box 114"/>
          <p:cNvSpPr txBox="1">
            <a:spLocks noChangeArrowheads="1"/>
          </p:cNvSpPr>
          <p:nvPr/>
        </p:nvSpPr>
        <p:spPr bwMode="auto">
          <a:xfrm>
            <a:off x="1631053" y="6237288"/>
            <a:ext cx="4924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鹿児島</a:t>
            </a:r>
          </a:p>
        </p:txBody>
      </p:sp>
      <p:sp>
        <p:nvSpPr>
          <p:cNvPr id="12403" name="Text Box 115"/>
          <p:cNvSpPr txBox="1">
            <a:spLocks noChangeArrowheads="1"/>
          </p:cNvSpPr>
          <p:nvPr/>
        </p:nvSpPr>
        <p:spPr bwMode="auto">
          <a:xfrm>
            <a:off x="4470245" y="5734050"/>
            <a:ext cx="4924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和歌山</a:t>
            </a:r>
          </a:p>
        </p:txBody>
      </p:sp>
      <p:sp>
        <p:nvSpPr>
          <p:cNvPr id="12404" name="Text Box 116"/>
          <p:cNvSpPr txBox="1">
            <a:spLocks noChangeArrowheads="1"/>
          </p:cNvSpPr>
          <p:nvPr/>
        </p:nvSpPr>
        <p:spPr bwMode="auto">
          <a:xfrm>
            <a:off x="8296701" y="2673350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青森</a:t>
            </a:r>
          </a:p>
        </p:txBody>
      </p:sp>
      <p:sp>
        <p:nvSpPr>
          <p:cNvPr id="12405" name="Text Box 117"/>
          <p:cNvSpPr txBox="1">
            <a:spLocks noChangeArrowheads="1"/>
          </p:cNvSpPr>
          <p:nvPr/>
        </p:nvSpPr>
        <p:spPr bwMode="auto">
          <a:xfrm>
            <a:off x="2403352" y="5913438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宮崎</a:t>
            </a:r>
          </a:p>
        </p:txBody>
      </p:sp>
      <p:sp>
        <p:nvSpPr>
          <p:cNvPr id="12406" name="Text Box 118"/>
          <p:cNvSpPr txBox="1">
            <a:spLocks noChangeArrowheads="1"/>
          </p:cNvSpPr>
          <p:nvPr/>
        </p:nvSpPr>
        <p:spPr bwMode="auto">
          <a:xfrm>
            <a:off x="3155652" y="5300663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愛媛</a:t>
            </a:r>
          </a:p>
        </p:txBody>
      </p:sp>
      <p:sp>
        <p:nvSpPr>
          <p:cNvPr id="12407" name="Text Box 119"/>
          <p:cNvSpPr txBox="1">
            <a:spLocks noChangeArrowheads="1"/>
          </p:cNvSpPr>
          <p:nvPr/>
        </p:nvSpPr>
        <p:spPr bwMode="auto">
          <a:xfrm>
            <a:off x="2624157" y="5481638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大分</a:t>
            </a:r>
          </a:p>
        </p:txBody>
      </p:sp>
      <p:sp>
        <p:nvSpPr>
          <p:cNvPr id="12408" name="Text Box 120"/>
          <p:cNvSpPr txBox="1">
            <a:spLocks noChangeArrowheads="1"/>
          </p:cNvSpPr>
          <p:nvPr/>
        </p:nvSpPr>
        <p:spPr bwMode="auto">
          <a:xfrm>
            <a:off x="2047719" y="5697538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熊本</a:t>
            </a:r>
          </a:p>
        </p:txBody>
      </p:sp>
      <p:sp>
        <p:nvSpPr>
          <p:cNvPr id="12409" name="Text Box 121"/>
          <p:cNvSpPr txBox="1">
            <a:spLocks noChangeArrowheads="1"/>
          </p:cNvSpPr>
          <p:nvPr/>
        </p:nvSpPr>
        <p:spPr bwMode="auto">
          <a:xfrm>
            <a:off x="4798828" y="5146997"/>
            <a:ext cx="308805" cy="370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大阪</a:t>
            </a:r>
          </a:p>
        </p:txBody>
      </p:sp>
      <p:sp>
        <p:nvSpPr>
          <p:cNvPr id="12410" name="Text Box 122"/>
          <p:cNvSpPr txBox="1">
            <a:spLocks noChangeArrowheads="1"/>
          </p:cNvSpPr>
          <p:nvPr/>
        </p:nvSpPr>
        <p:spPr bwMode="auto">
          <a:xfrm>
            <a:off x="4959738" y="536071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奈良</a:t>
            </a:r>
          </a:p>
        </p:txBody>
      </p:sp>
      <p:sp>
        <p:nvSpPr>
          <p:cNvPr id="12411" name="Text Box 123"/>
          <p:cNvSpPr txBox="1">
            <a:spLocks noChangeArrowheads="1"/>
          </p:cNvSpPr>
          <p:nvPr/>
        </p:nvSpPr>
        <p:spPr bwMode="auto">
          <a:xfrm>
            <a:off x="5270427" y="536071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三重</a:t>
            </a:r>
          </a:p>
        </p:txBody>
      </p:sp>
      <p:sp>
        <p:nvSpPr>
          <p:cNvPr id="12412" name="Text Box 124"/>
          <p:cNvSpPr txBox="1">
            <a:spLocks noChangeArrowheads="1"/>
          </p:cNvSpPr>
          <p:nvPr/>
        </p:nvSpPr>
        <p:spPr bwMode="auto">
          <a:xfrm>
            <a:off x="4826863" y="4676503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京都</a:t>
            </a:r>
          </a:p>
        </p:txBody>
      </p:sp>
      <p:sp>
        <p:nvSpPr>
          <p:cNvPr id="12413" name="Text Box 125"/>
          <p:cNvSpPr txBox="1">
            <a:spLocks noChangeArrowheads="1"/>
          </p:cNvSpPr>
          <p:nvPr/>
        </p:nvSpPr>
        <p:spPr bwMode="auto">
          <a:xfrm>
            <a:off x="4473185" y="4857478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兵庫</a:t>
            </a:r>
          </a:p>
        </p:txBody>
      </p:sp>
      <p:sp>
        <p:nvSpPr>
          <p:cNvPr id="12414" name="Text Box 126"/>
          <p:cNvSpPr txBox="1">
            <a:spLocks noChangeArrowheads="1"/>
          </p:cNvSpPr>
          <p:nvPr/>
        </p:nvSpPr>
        <p:spPr bwMode="auto">
          <a:xfrm>
            <a:off x="5137554" y="492891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滋賀</a:t>
            </a:r>
          </a:p>
        </p:txBody>
      </p:sp>
      <p:sp>
        <p:nvSpPr>
          <p:cNvPr id="12415" name="Text Box 127"/>
          <p:cNvSpPr txBox="1">
            <a:spLocks noChangeArrowheads="1"/>
          </p:cNvSpPr>
          <p:nvPr/>
        </p:nvSpPr>
        <p:spPr bwMode="auto">
          <a:xfrm>
            <a:off x="7578358" y="3789620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山形</a:t>
            </a:r>
          </a:p>
        </p:txBody>
      </p:sp>
      <p:sp>
        <p:nvSpPr>
          <p:cNvPr id="12416" name="Text Box 128"/>
          <p:cNvSpPr txBox="1">
            <a:spLocks noChangeArrowheads="1"/>
          </p:cNvSpPr>
          <p:nvPr/>
        </p:nvSpPr>
        <p:spPr bwMode="auto">
          <a:xfrm>
            <a:off x="7941068" y="2997200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秋田</a:t>
            </a:r>
          </a:p>
        </p:txBody>
      </p:sp>
      <p:sp>
        <p:nvSpPr>
          <p:cNvPr id="12417" name="Text Box 129"/>
          <p:cNvSpPr txBox="1">
            <a:spLocks noChangeArrowheads="1"/>
          </p:cNvSpPr>
          <p:nvPr/>
        </p:nvSpPr>
        <p:spPr bwMode="auto">
          <a:xfrm>
            <a:off x="5549337" y="5192713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愛知</a:t>
            </a:r>
          </a:p>
        </p:txBody>
      </p:sp>
      <p:sp>
        <p:nvSpPr>
          <p:cNvPr id="12418" name="Text Box 130"/>
          <p:cNvSpPr txBox="1">
            <a:spLocks noChangeArrowheads="1"/>
          </p:cNvSpPr>
          <p:nvPr/>
        </p:nvSpPr>
        <p:spPr bwMode="auto">
          <a:xfrm>
            <a:off x="6035891" y="5373688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静岡</a:t>
            </a:r>
          </a:p>
        </p:txBody>
      </p:sp>
      <p:sp>
        <p:nvSpPr>
          <p:cNvPr id="12419" name="Text Box 131"/>
          <p:cNvSpPr txBox="1">
            <a:spLocks noChangeArrowheads="1"/>
          </p:cNvSpPr>
          <p:nvPr/>
        </p:nvSpPr>
        <p:spPr bwMode="auto">
          <a:xfrm>
            <a:off x="4077953" y="4581525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鳥取</a:t>
            </a:r>
          </a:p>
        </p:txBody>
      </p:sp>
      <p:sp>
        <p:nvSpPr>
          <p:cNvPr id="12420" name="Text Box 132"/>
          <p:cNvSpPr txBox="1">
            <a:spLocks noChangeArrowheads="1"/>
          </p:cNvSpPr>
          <p:nvPr/>
        </p:nvSpPr>
        <p:spPr bwMode="auto">
          <a:xfrm>
            <a:off x="3288527" y="4616450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島根</a:t>
            </a:r>
          </a:p>
        </p:txBody>
      </p:sp>
      <p:sp>
        <p:nvSpPr>
          <p:cNvPr id="12421" name="Text Box 133"/>
          <p:cNvSpPr txBox="1">
            <a:spLocks noChangeArrowheads="1"/>
          </p:cNvSpPr>
          <p:nvPr/>
        </p:nvSpPr>
        <p:spPr bwMode="auto">
          <a:xfrm>
            <a:off x="6600056" y="5229200"/>
            <a:ext cx="520862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神奈川</a:t>
            </a:r>
          </a:p>
        </p:txBody>
      </p:sp>
      <p:sp>
        <p:nvSpPr>
          <p:cNvPr id="12422" name="Text Box 134"/>
          <p:cNvSpPr txBox="1">
            <a:spLocks noChangeArrowheads="1"/>
          </p:cNvSpPr>
          <p:nvPr/>
        </p:nvSpPr>
        <p:spPr bwMode="auto">
          <a:xfrm>
            <a:off x="6923019" y="5049838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東京</a:t>
            </a:r>
          </a:p>
        </p:txBody>
      </p:sp>
      <p:sp>
        <p:nvSpPr>
          <p:cNvPr id="12423" name="Text Box 135"/>
          <p:cNvSpPr txBox="1">
            <a:spLocks noChangeArrowheads="1"/>
          </p:cNvSpPr>
          <p:nvPr/>
        </p:nvSpPr>
        <p:spPr bwMode="auto">
          <a:xfrm>
            <a:off x="7265491" y="525276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千葉</a:t>
            </a:r>
          </a:p>
        </p:txBody>
      </p:sp>
      <p:sp>
        <p:nvSpPr>
          <p:cNvPr id="12424" name="Text Box 136"/>
          <p:cNvSpPr txBox="1">
            <a:spLocks noChangeArrowheads="1"/>
          </p:cNvSpPr>
          <p:nvPr/>
        </p:nvSpPr>
        <p:spPr bwMode="auto">
          <a:xfrm>
            <a:off x="4035941" y="5192713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香川</a:t>
            </a:r>
          </a:p>
        </p:txBody>
      </p:sp>
      <p:sp>
        <p:nvSpPr>
          <p:cNvPr id="12425" name="Text Box 137"/>
          <p:cNvSpPr txBox="1">
            <a:spLocks noChangeArrowheads="1"/>
          </p:cNvSpPr>
          <p:nvPr/>
        </p:nvSpPr>
        <p:spPr bwMode="auto">
          <a:xfrm>
            <a:off x="4035941" y="5445125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徳島</a:t>
            </a:r>
          </a:p>
        </p:txBody>
      </p:sp>
      <p:sp>
        <p:nvSpPr>
          <p:cNvPr id="12426" name="Text Box 138"/>
          <p:cNvSpPr txBox="1">
            <a:spLocks noChangeArrowheads="1"/>
          </p:cNvSpPr>
          <p:nvPr/>
        </p:nvSpPr>
        <p:spPr bwMode="auto">
          <a:xfrm>
            <a:off x="8027045" y="3789363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宮城</a:t>
            </a:r>
          </a:p>
        </p:txBody>
      </p:sp>
      <p:sp>
        <p:nvSpPr>
          <p:cNvPr id="12427" name="Text Box 139"/>
          <p:cNvSpPr txBox="1">
            <a:spLocks noChangeArrowheads="1"/>
          </p:cNvSpPr>
          <p:nvPr/>
        </p:nvSpPr>
        <p:spPr bwMode="auto">
          <a:xfrm>
            <a:off x="5587440" y="4868863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岐阜</a:t>
            </a:r>
          </a:p>
        </p:txBody>
      </p:sp>
      <p:sp>
        <p:nvSpPr>
          <p:cNvPr id="12428" name="Text Box 140"/>
          <p:cNvSpPr txBox="1">
            <a:spLocks noChangeArrowheads="1"/>
          </p:cNvSpPr>
          <p:nvPr/>
        </p:nvSpPr>
        <p:spPr bwMode="auto">
          <a:xfrm>
            <a:off x="5149739" y="4581525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福井</a:t>
            </a:r>
          </a:p>
        </p:txBody>
      </p:sp>
      <p:sp>
        <p:nvSpPr>
          <p:cNvPr id="12429" name="Text Box 141"/>
          <p:cNvSpPr txBox="1">
            <a:spLocks noChangeArrowheads="1"/>
          </p:cNvSpPr>
          <p:nvPr/>
        </p:nvSpPr>
        <p:spPr bwMode="auto">
          <a:xfrm>
            <a:off x="6213707" y="4652963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長野</a:t>
            </a:r>
          </a:p>
        </p:txBody>
      </p:sp>
      <p:sp>
        <p:nvSpPr>
          <p:cNvPr id="12430" name="Text Box 142"/>
          <p:cNvSpPr txBox="1">
            <a:spLocks noChangeArrowheads="1"/>
          </p:cNvSpPr>
          <p:nvPr/>
        </p:nvSpPr>
        <p:spPr bwMode="auto">
          <a:xfrm>
            <a:off x="6391524" y="5049838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山梨</a:t>
            </a:r>
          </a:p>
        </p:txBody>
      </p:sp>
      <p:sp>
        <p:nvSpPr>
          <p:cNvPr id="12431" name="Text Box 143"/>
          <p:cNvSpPr txBox="1">
            <a:spLocks noChangeArrowheads="1"/>
          </p:cNvSpPr>
          <p:nvPr/>
        </p:nvSpPr>
        <p:spPr bwMode="auto">
          <a:xfrm>
            <a:off x="6024683" y="428121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富山</a:t>
            </a:r>
          </a:p>
        </p:txBody>
      </p:sp>
      <p:sp>
        <p:nvSpPr>
          <p:cNvPr id="12432" name="Text Box 144"/>
          <p:cNvSpPr txBox="1">
            <a:spLocks noChangeArrowheads="1"/>
          </p:cNvSpPr>
          <p:nvPr/>
        </p:nvSpPr>
        <p:spPr bwMode="auto">
          <a:xfrm>
            <a:off x="5536175" y="4316141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石川</a:t>
            </a:r>
          </a:p>
        </p:txBody>
      </p:sp>
      <p:sp>
        <p:nvSpPr>
          <p:cNvPr id="12433" name="Text Box 145"/>
          <p:cNvSpPr txBox="1">
            <a:spLocks noChangeArrowheads="1"/>
          </p:cNvSpPr>
          <p:nvPr/>
        </p:nvSpPr>
        <p:spPr bwMode="auto">
          <a:xfrm>
            <a:off x="6821926" y="417326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新潟</a:t>
            </a:r>
          </a:p>
        </p:txBody>
      </p:sp>
      <p:sp>
        <p:nvSpPr>
          <p:cNvPr id="12434" name="Text Box 146"/>
          <p:cNvSpPr txBox="1">
            <a:spLocks noChangeArrowheads="1"/>
          </p:cNvSpPr>
          <p:nvPr/>
        </p:nvSpPr>
        <p:spPr bwMode="auto">
          <a:xfrm>
            <a:off x="6830201" y="4905375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埼玉</a:t>
            </a:r>
          </a:p>
        </p:txBody>
      </p:sp>
      <p:sp>
        <p:nvSpPr>
          <p:cNvPr id="12435" name="Text Box 147"/>
          <p:cNvSpPr txBox="1">
            <a:spLocks noChangeArrowheads="1"/>
          </p:cNvSpPr>
          <p:nvPr/>
        </p:nvSpPr>
        <p:spPr bwMode="auto">
          <a:xfrm>
            <a:off x="7398365" y="4857478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茨城</a:t>
            </a:r>
          </a:p>
        </p:txBody>
      </p:sp>
      <p:sp>
        <p:nvSpPr>
          <p:cNvPr id="12436" name="Text Box 148"/>
          <p:cNvSpPr txBox="1">
            <a:spLocks noChangeArrowheads="1"/>
          </p:cNvSpPr>
          <p:nvPr/>
        </p:nvSpPr>
        <p:spPr bwMode="auto">
          <a:xfrm>
            <a:off x="7541469" y="4257675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福島</a:t>
            </a:r>
          </a:p>
        </p:txBody>
      </p:sp>
      <p:sp>
        <p:nvSpPr>
          <p:cNvPr id="12437" name="Text Box 149"/>
          <p:cNvSpPr txBox="1">
            <a:spLocks noChangeArrowheads="1"/>
          </p:cNvSpPr>
          <p:nvPr/>
        </p:nvSpPr>
        <p:spPr bwMode="auto">
          <a:xfrm>
            <a:off x="6776983" y="4639991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群馬</a:t>
            </a:r>
          </a:p>
        </p:txBody>
      </p:sp>
      <p:sp>
        <p:nvSpPr>
          <p:cNvPr id="12438" name="Text Box 150"/>
          <p:cNvSpPr txBox="1">
            <a:spLocks noChangeArrowheads="1"/>
          </p:cNvSpPr>
          <p:nvPr/>
        </p:nvSpPr>
        <p:spPr bwMode="auto">
          <a:xfrm>
            <a:off x="7176120" y="4605066"/>
            <a:ext cx="307777" cy="29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栃木</a:t>
            </a:r>
          </a:p>
        </p:txBody>
      </p:sp>
      <p:sp>
        <p:nvSpPr>
          <p:cNvPr id="12439" name="Text Box 151"/>
          <p:cNvSpPr txBox="1">
            <a:spLocks noChangeArrowheads="1"/>
          </p:cNvSpPr>
          <p:nvPr/>
        </p:nvSpPr>
        <p:spPr bwMode="auto">
          <a:xfrm>
            <a:off x="8381700" y="3284538"/>
            <a:ext cx="389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charset="0"/>
                <a:ea typeface="メイリオ" charset="0"/>
                <a:cs typeface="メイリオ" charset="0"/>
              </a:rPr>
              <a:t>岩手</a:t>
            </a:r>
          </a:p>
        </p:txBody>
      </p:sp>
      <p:cxnSp>
        <p:nvCxnSpPr>
          <p:cNvPr id="3" name="直線コネクタ 2"/>
          <p:cNvCxnSpPr>
            <a:stCxn id="12426" idx="0"/>
            <a:endCxn id="19" idx="1"/>
          </p:cNvCxnSpPr>
          <p:nvPr/>
        </p:nvCxnSpPr>
        <p:spPr bwMode="auto">
          <a:xfrm flipV="1">
            <a:off x="8221970" y="2662173"/>
            <a:ext cx="538326" cy="112719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直線コネクタ 4"/>
          <p:cNvCxnSpPr>
            <a:stCxn id="12422" idx="2"/>
            <a:endCxn id="22" idx="1"/>
          </p:cNvCxnSpPr>
          <p:nvPr/>
        </p:nvCxnSpPr>
        <p:spPr bwMode="auto">
          <a:xfrm flipV="1">
            <a:off x="7117944" y="4697777"/>
            <a:ext cx="1642352" cy="56750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直線コネクタ 8"/>
          <p:cNvCxnSpPr>
            <a:endCxn id="12323" idx="4"/>
          </p:cNvCxnSpPr>
          <p:nvPr/>
        </p:nvCxnSpPr>
        <p:spPr bwMode="auto">
          <a:xfrm flipH="1">
            <a:off x="5865863" y="3499982"/>
            <a:ext cx="20229" cy="134950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直線コネクタ 11"/>
          <p:cNvCxnSpPr>
            <a:stCxn id="12395" idx="2"/>
            <a:endCxn id="12350" idx="2"/>
          </p:cNvCxnSpPr>
          <p:nvPr/>
        </p:nvCxnSpPr>
        <p:spPr bwMode="auto">
          <a:xfrm flipH="1" flipV="1">
            <a:off x="1887467" y="4491990"/>
            <a:ext cx="523739" cy="87890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テキスト ボックス 18"/>
          <p:cNvSpPr txBox="1"/>
          <p:nvPr/>
        </p:nvSpPr>
        <p:spPr bwMode="auto">
          <a:xfrm>
            <a:off x="8760296" y="2492896"/>
            <a:ext cx="1728000" cy="338554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Tohoku Univ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22" name="テキスト ボックス 21"/>
          <p:cNvSpPr txBox="1"/>
          <p:nvPr/>
        </p:nvSpPr>
        <p:spPr bwMode="auto">
          <a:xfrm>
            <a:off x="8760296" y="4049777"/>
            <a:ext cx="3420000" cy="1296000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Showa Univ.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Tokyo Med Univ., Hachioji Med C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National Defense Medical Coll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Ikegami General Hosp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Tokyo Med Dental Univ.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12345" name="テキスト ボックス 12344"/>
          <p:cNvSpPr txBox="1"/>
          <p:nvPr/>
        </p:nvSpPr>
        <p:spPr bwMode="auto">
          <a:xfrm>
            <a:off x="4857376" y="2880370"/>
            <a:ext cx="2592000" cy="648000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Gifu Heart Cente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Gifu </a:t>
            </a:r>
            <a:r>
              <a:rPr kumimoji="1" lang="en-US" altLang="ja-JP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Pref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 General Med C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152" name="正方形/長方形 151"/>
          <p:cNvSpPr/>
          <p:nvPr/>
        </p:nvSpPr>
        <p:spPr>
          <a:xfrm>
            <a:off x="194297" y="6570718"/>
            <a:ext cx="3613149" cy="2873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153" name="正方形/長方形 152"/>
          <p:cNvSpPr/>
          <p:nvPr/>
        </p:nvSpPr>
        <p:spPr>
          <a:xfrm>
            <a:off x="10216391" y="-44107"/>
            <a:ext cx="2010833" cy="504825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" name="テキスト ボックス 3"/>
          <p:cNvSpPr txBox="1"/>
          <p:nvPr/>
        </p:nvSpPr>
        <p:spPr>
          <a:xfrm>
            <a:off x="1398987" y="160064"/>
            <a:ext cx="10828237" cy="1015663"/>
          </a:xfrm>
          <a:prstGeom prst="rect">
            <a:avLst/>
          </a:prstGeom>
          <a:solidFill>
            <a:srgbClr val="0070C0">
              <a:alpha val="72941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Japanese Association of CMD (J-CMD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(Founded in 2022) </a:t>
            </a:r>
            <a:r>
              <a:rPr kumimoji="1" lang="ja-JP" alt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（</a:t>
            </a:r>
            <a:r>
              <a:rPr kumimoji="1" lang="en-US" altLang="ja-JP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Supported by the Japan Heart Foundation</a:t>
            </a:r>
            <a:r>
              <a:rPr kumimoji="1" lang="ja-JP" alt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）</a:t>
            </a:r>
            <a:endParaRPr kumimoji="1" lang="ja-JP" alt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50" charset="-128"/>
              <a:cs typeface="Arial" panose="020B0604020202020204" pitchFamily="34" charset="0"/>
            </a:endParaRPr>
          </a:p>
        </p:txBody>
      </p:sp>
      <p:sp>
        <p:nvSpPr>
          <p:cNvPr id="164874" name="正方形/長方形 3"/>
          <p:cNvSpPr>
            <a:spLocks noChangeArrowheads="1"/>
          </p:cNvSpPr>
          <p:nvPr/>
        </p:nvSpPr>
        <p:spPr bwMode="auto">
          <a:xfrm>
            <a:off x="1487488" y="1568405"/>
            <a:ext cx="5781340" cy="572464"/>
          </a:xfrm>
          <a:prstGeom prst="rect">
            <a:avLst/>
          </a:prstGeom>
          <a:solidFill>
            <a:srgbClr val="FFFF99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Chairman</a:t>
            </a:r>
            <a:r>
              <a:rPr kumimoji="1" lang="ja-JP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： </a:t>
            </a: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Hiroaki Shimokawa</a:t>
            </a:r>
            <a:r>
              <a:rPr kumimoji="1" lang="ja-JP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（</a:t>
            </a: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IUHW</a:t>
            </a:r>
            <a:r>
              <a:rPr kumimoji="1" lang="ja-JP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）</a:t>
            </a:r>
            <a:endParaRPr kumimoji="1" lang="en-US" altLang="ja-JP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26" name="直線コネクタ 125"/>
          <p:cNvCxnSpPr>
            <a:stCxn id="127" idx="0"/>
            <a:endCxn id="12417" idx="3"/>
          </p:cNvCxnSpPr>
          <p:nvPr/>
        </p:nvCxnSpPr>
        <p:spPr bwMode="auto">
          <a:xfrm flipH="1" flipV="1">
            <a:off x="5939187" y="5300435"/>
            <a:ext cx="1201021" cy="85615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7" name="テキスト ボックス 126"/>
          <p:cNvSpPr txBox="1"/>
          <p:nvPr/>
        </p:nvSpPr>
        <p:spPr bwMode="auto">
          <a:xfrm>
            <a:off x="6204208" y="6156593"/>
            <a:ext cx="1872000" cy="584775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Fujita Med Univ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Aichi Med Univ.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23" name="直線コネクタ 122"/>
          <p:cNvCxnSpPr>
            <a:stCxn id="12408" idx="0"/>
            <a:endCxn id="124" idx="2"/>
          </p:cNvCxnSpPr>
          <p:nvPr/>
        </p:nvCxnSpPr>
        <p:spPr bwMode="auto">
          <a:xfrm flipH="1" flipV="1">
            <a:off x="1070527" y="5373216"/>
            <a:ext cx="1172117" cy="32432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4" name="テキスト ボックス 123"/>
          <p:cNvSpPr txBox="1"/>
          <p:nvPr/>
        </p:nvSpPr>
        <p:spPr bwMode="auto">
          <a:xfrm>
            <a:off x="119336" y="5103881"/>
            <a:ext cx="1837195" cy="341343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Kumamoto Univ.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22" name="直線コネクタ 121"/>
          <p:cNvCxnSpPr>
            <a:stCxn id="12400" idx="0"/>
            <a:endCxn id="125" idx="2"/>
          </p:cNvCxnSpPr>
          <p:nvPr/>
        </p:nvCxnSpPr>
        <p:spPr bwMode="auto">
          <a:xfrm flipH="1" flipV="1">
            <a:off x="3611608" y="3500968"/>
            <a:ext cx="581156" cy="136789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5" name="テキスト ボックス 124"/>
          <p:cNvSpPr txBox="1"/>
          <p:nvPr/>
        </p:nvSpPr>
        <p:spPr bwMode="auto">
          <a:xfrm>
            <a:off x="2567608" y="3140968"/>
            <a:ext cx="2088000" cy="360000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Kawasaki Med </a:t>
            </a:r>
            <a:r>
              <a:rPr kumimoji="1" lang="en-US" altLang="ja-JP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Sch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12350" name="テキスト ボックス 12349"/>
          <p:cNvSpPr txBox="1"/>
          <p:nvPr/>
        </p:nvSpPr>
        <p:spPr bwMode="auto">
          <a:xfrm>
            <a:off x="710421" y="3861048"/>
            <a:ext cx="2354092" cy="630942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Kurume Univ.</a:t>
            </a:r>
          </a:p>
          <a:p>
            <a:pPr marL="0" marR="0" lvl="0" indent="0" algn="l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Fukuoka </a:t>
            </a:r>
            <a:r>
              <a:rPr kumimoji="1" lang="en-US" altLang="ja-JP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Sanno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 Hosp.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28" name="直線コネクタ 127"/>
          <p:cNvCxnSpPr>
            <a:stCxn id="129" idx="3"/>
            <a:endCxn id="12405" idx="0"/>
          </p:cNvCxnSpPr>
          <p:nvPr/>
        </p:nvCxnSpPr>
        <p:spPr bwMode="auto">
          <a:xfrm>
            <a:off x="1574399" y="5908211"/>
            <a:ext cx="1023878" cy="52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9" name="テキスト ボックス 128"/>
          <p:cNvSpPr txBox="1"/>
          <p:nvPr/>
        </p:nvSpPr>
        <p:spPr bwMode="auto">
          <a:xfrm>
            <a:off x="119336" y="5661248"/>
            <a:ext cx="1764000" cy="360000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Miyazaki Univ.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30" name="直線コネクタ 129"/>
          <p:cNvCxnSpPr>
            <a:stCxn id="131" idx="1"/>
            <a:endCxn id="12423" idx="1"/>
          </p:cNvCxnSpPr>
          <p:nvPr/>
        </p:nvCxnSpPr>
        <p:spPr bwMode="auto">
          <a:xfrm flipH="1" flipV="1">
            <a:off x="7265491" y="5401525"/>
            <a:ext cx="1494805" cy="4591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1" name="テキスト ボックス 130"/>
          <p:cNvSpPr txBox="1"/>
          <p:nvPr/>
        </p:nvSpPr>
        <p:spPr bwMode="auto">
          <a:xfrm>
            <a:off x="8760296" y="5445224"/>
            <a:ext cx="2736000" cy="830997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Chiba Univ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New Tokyo Hosp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IUHW Hosp. (Narita)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41" name="直線コネクタ 140"/>
          <p:cNvCxnSpPr/>
          <p:nvPr/>
        </p:nvCxnSpPr>
        <p:spPr bwMode="auto">
          <a:xfrm flipH="1" flipV="1">
            <a:off x="4743318" y="5685996"/>
            <a:ext cx="11418" cy="59022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2" name="テキスト ボックス 141"/>
          <p:cNvSpPr txBox="1"/>
          <p:nvPr/>
        </p:nvSpPr>
        <p:spPr bwMode="auto">
          <a:xfrm>
            <a:off x="3647728" y="6273368"/>
            <a:ext cx="2376000" cy="468000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Wakayama Med Univ.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67" name="直線コネクタ 166"/>
          <p:cNvCxnSpPr>
            <a:stCxn id="12438" idx="2"/>
            <a:endCxn id="168" idx="1"/>
          </p:cNvCxnSpPr>
          <p:nvPr/>
        </p:nvCxnSpPr>
        <p:spPr bwMode="auto">
          <a:xfrm flipV="1">
            <a:off x="7330009" y="3218120"/>
            <a:ext cx="1430287" cy="168446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8" name="テキスト ボックス 167"/>
          <p:cNvSpPr txBox="1"/>
          <p:nvPr/>
        </p:nvSpPr>
        <p:spPr bwMode="auto">
          <a:xfrm>
            <a:off x="8760296" y="2924944"/>
            <a:ext cx="2350808" cy="586352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IUHW Hosp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Teikyo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 Univ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71" name="直線コネクタ 170"/>
          <p:cNvCxnSpPr>
            <a:endCxn id="172" idx="1"/>
          </p:cNvCxnSpPr>
          <p:nvPr/>
        </p:nvCxnSpPr>
        <p:spPr bwMode="auto">
          <a:xfrm flipV="1">
            <a:off x="7672767" y="3767783"/>
            <a:ext cx="1087528" cy="112018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テキスト ボックス 171"/>
          <p:cNvSpPr txBox="1"/>
          <p:nvPr/>
        </p:nvSpPr>
        <p:spPr bwMode="auto">
          <a:xfrm>
            <a:off x="8760295" y="3594502"/>
            <a:ext cx="3276000" cy="346562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Tsuchiura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 Kyodo General Hosp.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96" name="テキスト ボックス 95"/>
          <p:cNvSpPr txBox="1"/>
          <p:nvPr/>
        </p:nvSpPr>
        <p:spPr>
          <a:xfrm>
            <a:off x="2567608" y="2348880"/>
            <a:ext cx="1692000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Osaka" pitchFamily="32" charset="-128"/>
                <a:cs typeface="Arial" panose="020B0604020202020204" pitchFamily="34" charset="0"/>
              </a:rPr>
              <a:t>N=28</a:t>
            </a:r>
            <a:endParaRPr kumimoji="1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Osaka" pitchFamily="32" charset="-128"/>
              <a:cs typeface="Arial" panose="020B0604020202020204" pitchFamily="34" charset="0"/>
            </a:endParaRPr>
          </a:p>
        </p:txBody>
      </p:sp>
      <p:pic>
        <p:nvPicPr>
          <p:cNvPr id="132" name="図 131">
            <a:extLst>
              <a:ext uri="{FF2B5EF4-FFF2-40B4-BE49-F238E27FC236}">
                <a16:creationId xmlns:a16="http://schemas.microsoft.com/office/drawing/2014/main" id="{235AEFD7-968B-4F43-DAEF-31E039ED0F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336" y="173331"/>
            <a:ext cx="1188000" cy="1010693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33" name="直線コネクタ 132"/>
          <p:cNvCxnSpPr>
            <a:stCxn id="134" idx="0"/>
          </p:cNvCxnSpPr>
          <p:nvPr/>
        </p:nvCxnSpPr>
        <p:spPr bwMode="auto">
          <a:xfrm flipH="1" flipV="1">
            <a:off x="5424320" y="5516107"/>
            <a:ext cx="149680" cy="43317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4" name="テキスト ボックス 133"/>
          <p:cNvSpPr txBox="1"/>
          <p:nvPr/>
        </p:nvSpPr>
        <p:spPr bwMode="auto">
          <a:xfrm>
            <a:off x="5196032" y="5733256"/>
            <a:ext cx="1188000" cy="338554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Mie Univ.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43" name="直線コネクタ 142"/>
          <p:cNvCxnSpPr>
            <a:stCxn id="144" idx="0"/>
            <a:endCxn id="12305" idx="19"/>
          </p:cNvCxnSpPr>
          <p:nvPr/>
        </p:nvCxnSpPr>
        <p:spPr bwMode="auto">
          <a:xfrm flipH="1" flipV="1">
            <a:off x="3382355" y="5577368"/>
            <a:ext cx="355453" cy="22789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テキスト ボックス 143"/>
          <p:cNvSpPr txBox="1"/>
          <p:nvPr/>
        </p:nvSpPr>
        <p:spPr bwMode="auto">
          <a:xfrm>
            <a:off x="2999808" y="5805264"/>
            <a:ext cx="1476000" cy="360000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Ehime Univ.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36" name="直線コネクタ 135"/>
          <p:cNvCxnSpPr>
            <a:endCxn id="137" idx="2"/>
          </p:cNvCxnSpPr>
          <p:nvPr/>
        </p:nvCxnSpPr>
        <p:spPr bwMode="auto">
          <a:xfrm flipV="1">
            <a:off x="4868336" y="4509120"/>
            <a:ext cx="57448" cy="9252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7" name="テキスト ボックス 136"/>
          <p:cNvSpPr txBox="1"/>
          <p:nvPr/>
        </p:nvSpPr>
        <p:spPr bwMode="auto">
          <a:xfrm>
            <a:off x="4151784" y="3897120"/>
            <a:ext cx="1548000" cy="612000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NCVC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Osaka Univ.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cxnSp>
        <p:nvCxnSpPr>
          <p:cNvPr id="151" name="直線コネクタ 150"/>
          <p:cNvCxnSpPr>
            <a:stCxn id="154" idx="1"/>
          </p:cNvCxnSpPr>
          <p:nvPr/>
        </p:nvCxnSpPr>
        <p:spPr bwMode="auto">
          <a:xfrm flipH="1" flipV="1">
            <a:off x="6860025" y="5286376"/>
            <a:ext cx="1900272" cy="127495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4" name="テキスト ボックス 153"/>
          <p:cNvSpPr txBox="1"/>
          <p:nvPr/>
        </p:nvSpPr>
        <p:spPr bwMode="auto">
          <a:xfrm>
            <a:off x="8760297" y="6392051"/>
            <a:ext cx="2988000" cy="338554"/>
          </a:xfrm>
          <a:prstGeom prst="rect">
            <a:avLst/>
          </a:prstGeom>
          <a:solidFill>
            <a:srgbClr val="AFFFFF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・ 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Showa Univ. </a:t>
            </a:r>
            <a:r>
              <a:rPr kumimoji="1" lang="en-US" altLang="ja-JP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Fujigaoka</a:t>
            </a:r>
            <a:r>
              <a:rPr kumimoji="1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 Hosp.</a:t>
            </a: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5501762" y="663331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67153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ボックス 3"/>
          <p:cNvSpPr txBox="1"/>
          <p:nvPr/>
        </p:nvSpPr>
        <p:spPr>
          <a:xfrm>
            <a:off x="1991543" y="285084"/>
            <a:ext cx="8314829" cy="707886"/>
          </a:xfrm>
          <a:prstGeom prst="rect">
            <a:avLst/>
          </a:prstGeom>
          <a:solidFill>
            <a:srgbClr val="0070C0">
              <a:alpha val="72941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4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sues to be discussed</a:t>
            </a:r>
            <a:endParaRPr kumimoji="1" lang="en-US" altLang="ja-JP" sz="40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テキスト ボックス 1"/>
          <p:cNvSpPr txBox="1"/>
          <p:nvPr/>
        </p:nvSpPr>
        <p:spPr>
          <a:xfrm>
            <a:off x="2711624" y="1340768"/>
            <a:ext cx="8105383" cy="5074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. Running cost (Sponsors) </a:t>
            </a:r>
          </a:p>
          <a:p>
            <a:endParaRPr lang="en-US" altLang="ja-JP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1"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. IRB approval</a:t>
            </a:r>
          </a:p>
          <a:p>
            <a:endParaRPr lang="en-US" altLang="ja-JP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1"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. Registration job at each institute</a:t>
            </a:r>
          </a:p>
          <a:p>
            <a:endParaRPr lang="en-US" altLang="ja-JP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1"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. Data management </a:t>
            </a:r>
          </a:p>
          <a:p>
            <a:endParaRPr lang="en-US" altLang="ja-JP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1" lang="en-US" altLang="ja-JP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5. Data analysis</a:t>
            </a:r>
            <a:endParaRPr kumimoji="1" lang="ja-JP" alt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480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新しいプレゼンテーション">
  <a:themeElements>
    <a:clrScheme name="新しいプレゼンテーショ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新しいプレゼンテーション">
      <a:majorFont>
        <a:latin typeface="Times"/>
        <a:ea typeface="Osaka"/>
        <a:cs typeface=""/>
      </a:majorFont>
      <a:minorFont>
        <a:latin typeface="Times"/>
        <a:ea typeface="Osak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新しいプレゼンテーショ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新しいプレゼンテーショ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新しいプレゼンテーショ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7_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5_標準デザイン">
  <a:themeElements>
    <a:clrScheme name="アース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1_標準デザイン">
      <a:majorFont>
        <a:latin typeface="HGP創英角ｺﾞｼｯｸUB"/>
        <a:ea typeface="HGP創英角ｺﾞｼｯｸUB"/>
        <a:cs typeface=""/>
      </a:majorFont>
      <a:minorFont>
        <a:latin typeface="HGPｺﾞｼｯｸE"/>
        <a:ea typeface="HGPｺﾞｼｯｸE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3">
        <a:dk1>
          <a:srgbClr val="000000"/>
        </a:dk1>
        <a:lt1>
          <a:srgbClr val="FFFFFF"/>
        </a:lt1>
        <a:dk2>
          <a:srgbClr val="4F2D7F"/>
        </a:dk2>
        <a:lt2>
          <a:srgbClr val="808080"/>
        </a:lt2>
        <a:accent1>
          <a:srgbClr val="EC008C"/>
        </a:accent1>
        <a:accent2>
          <a:srgbClr val="87BFD7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AADC3"/>
        </a:accent6>
        <a:hlink>
          <a:srgbClr val="839038"/>
        </a:hlink>
        <a:folHlink>
          <a:srgbClr val="F0B54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14">
        <a:dk1>
          <a:srgbClr val="000000"/>
        </a:dk1>
        <a:lt1>
          <a:srgbClr val="FFFFFF"/>
        </a:lt1>
        <a:dk2>
          <a:srgbClr val="4F2D7F"/>
        </a:dk2>
        <a:lt2>
          <a:srgbClr val="807F83"/>
        </a:lt2>
        <a:accent1>
          <a:srgbClr val="EC008C"/>
        </a:accent1>
        <a:accent2>
          <a:srgbClr val="808000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37300"/>
        </a:accent6>
        <a:hlink>
          <a:srgbClr val="F0B545"/>
        </a:hlink>
        <a:folHlink>
          <a:srgbClr val="158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0_標準デザイン">
  <a:themeElements>
    <a:clrScheme name="アース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1_標準デザイン">
      <a:majorFont>
        <a:latin typeface="HGP創英角ｺﾞｼｯｸUB"/>
        <a:ea typeface="HGP創英角ｺﾞｼｯｸUB"/>
        <a:cs typeface=""/>
      </a:majorFont>
      <a:minorFont>
        <a:latin typeface="HGPｺﾞｼｯｸE"/>
        <a:ea typeface="HGPｺﾞｼｯｸE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3">
        <a:dk1>
          <a:srgbClr val="000000"/>
        </a:dk1>
        <a:lt1>
          <a:srgbClr val="FFFFFF"/>
        </a:lt1>
        <a:dk2>
          <a:srgbClr val="4F2D7F"/>
        </a:dk2>
        <a:lt2>
          <a:srgbClr val="808080"/>
        </a:lt2>
        <a:accent1>
          <a:srgbClr val="EC008C"/>
        </a:accent1>
        <a:accent2>
          <a:srgbClr val="87BFD7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AADC3"/>
        </a:accent6>
        <a:hlink>
          <a:srgbClr val="839038"/>
        </a:hlink>
        <a:folHlink>
          <a:srgbClr val="F0B54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14">
        <a:dk1>
          <a:srgbClr val="000000"/>
        </a:dk1>
        <a:lt1>
          <a:srgbClr val="FFFFFF"/>
        </a:lt1>
        <a:dk2>
          <a:srgbClr val="4F2D7F"/>
        </a:dk2>
        <a:lt2>
          <a:srgbClr val="807F83"/>
        </a:lt2>
        <a:accent1>
          <a:srgbClr val="EC008C"/>
        </a:accent1>
        <a:accent2>
          <a:srgbClr val="808000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37300"/>
        </a:accent6>
        <a:hlink>
          <a:srgbClr val="F0B545"/>
        </a:hlink>
        <a:folHlink>
          <a:srgbClr val="158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93_標準デザイン">
  <a:themeElements>
    <a:clrScheme name="アース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1_標準デザイン">
      <a:majorFont>
        <a:latin typeface="HGP創英角ｺﾞｼｯｸUB"/>
        <a:ea typeface="HGP創英角ｺﾞｼｯｸUB"/>
        <a:cs typeface=""/>
      </a:majorFont>
      <a:minorFont>
        <a:latin typeface="HGPｺﾞｼｯｸE"/>
        <a:ea typeface="HGPｺﾞｼｯｸE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3">
        <a:dk1>
          <a:srgbClr val="000000"/>
        </a:dk1>
        <a:lt1>
          <a:srgbClr val="FFFFFF"/>
        </a:lt1>
        <a:dk2>
          <a:srgbClr val="4F2D7F"/>
        </a:dk2>
        <a:lt2>
          <a:srgbClr val="808080"/>
        </a:lt2>
        <a:accent1>
          <a:srgbClr val="EC008C"/>
        </a:accent1>
        <a:accent2>
          <a:srgbClr val="87BFD7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AADC3"/>
        </a:accent6>
        <a:hlink>
          <a:srgbClr val="839038"/>
        </a:hlink>
        <a:folHlink>
          <a:srgbClr val="F0B54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14">
        <a:dk1>
          <a:srgbClr val="000000"/>
        </a:dk1>
        <a:lt1>
          <a:srgbClr val="FFFFFF"/>
        </a:lt1>
        <a:dk2>
          <a:srgbClr val="4F2D7F"/>
        </a:dk2>
        <a:lt2>
          <a:srgbClr val="807F83"/>
        </a:lt2>
        <a:accent1>
          <a:srgbClr val="EC008C"/>
        </a:accent1>
        <a:accent2>
          <a:srgbClr val="808000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37300"/>
        </a:accent6>
        <a:hlink>
          <a:srgbClr val="F0B545"/>
        </a:hlink>
        <a:folHlink>
          <a:srgbClr val="158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86_標準デザイン">
  <a:themeElements>
    <a:clrScheme name="アース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1_標準デザイン">
      <a:majorFont>
        <a:latin typeface="HGP創英角ｺﾞｼｯｸUB"/>
        <a:ea typeface="HGP創英角ｺﾞｼｯｸUB"/>
        <a:cs typeface=""/>
      </a:majorFont>
      <a:minorFont>
        <a:latin typeface="HGPｺﾞｼｯｸE"/>
        <a:ea typeface="HGPｺﾞｼｯｸE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3">
        <a:dk1>
          <a:srgbClr val="000000"/>
        </a:dk1>
        <a:lt1>
          <a:srgbClr val="FFFFFF"/>
        </a:lt1>
        <a:dk2>
          <a:srgbClr val="4F2D7F"/>
        </a:dk2>
        <a:lt2>
          <a:srgbClr val="808080"/>
        </a:lt2>
        <a:accent1>
          <a:srgbClr val="EC008C"/>
        </a:accent1>
        <a:accent2>
          <a:srgbClr val="87BFD7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AADC3"/>
        </a:accent6>
        <a:hlink>
          <a:srgbClr val="839038"/>
        </a:hlink>
        <a:folHlink>
          <a:srgbClr val="F0B54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14">
        <a:dk1>
          <a:srgbClr val="000000"/>
        </a:dk1>
        <a:lt1>
          <a:srgbClr val="FFFFFF"/>
        </a:lt1>
        <a:dk2>
          <a:srgbClr val="4F2D7F"/>
        </a:dk2>
        <a:lt2>
          <a:srgbClr val="807F83"/>
        </a:lt2>
        <a:accent1>
          <a:srgbClr val="EC008C"/>
        </a:accent1>
        <a:accent2>
          <a:srgbClr val="808000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37300"/>
        </a:accent6>
        <a:hlink>
          <a:srgbClr val="F0B545"/>
        </a:hlink>
        <a:folHlink>
          <a:srgbClr val="158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91_標準デザイン">
  <a:themeElements>
    <a:clrScheme name="アース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1_標準デザイン">
      <a:majorFont>
        <a:latin typeface="HGP創英角ｺﾞｼｯｸUB"/>
        <a:ea typeface="HGP創英角ｺﾞｼｯｸUB"/>
        <a:cs typeface=""/>
      </a:majorFont>
      <a:minorFont>
        <a:latin typeface="HGPｺﾞｼｯｸE"/>
        <a:ea typeface="HGPｺﾞｼｯｸE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標準デザイン 13">
        <a:dk1>
          <a:srgbClr val="000000"/>
        </a:dk1>
        <a:lt1>
          <a:srgbClr val="FFFFFF"/>
        </a:lt1>
        <a:dk2>
          <a:srgbClr val="4F2D7F"/>
        </a:dk2>
        <a:lt2>
          <a:srgbClr val="808080"/>
        </a:lt2>
        <a:accent1>
          <a:srgbClr val="EC008C"/>
        </a:accent1>
        <a:accent2>
          <a:srgbClr val="87BFD7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AADC3"/>
        </a:accent6>
        <a:hlink>
          <a:srgbClr val="839038"/>
        </a:hlink>
        <a:folHlink>
          <a:srgbClr val="F0B54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標準デザイン 14">
        <a:dk1>
          <a:srgbClr val="000000"/>
        </a:dk1>
        <a:lt1>
          <a:srgbClr val="FFFFFF"/>
        </a:lt1>
        <a:dk2>
          <a:srgbClr val="4F2D7F"/>
        </a:dk2>
        <a:lt2>
          <a:srgbClr val="807F83"/>
        </a:lt2>
        <a:accent1>
          <a:srgbClr val="EC008C"/>
        </a:accent1>
        <a:accent2>
          <a:srgbClr val="808000"/>
        </a:accent2>
        <a:accent3>
          <a:srgbClr val="FFFFFF"/>
        </a:accent3>
        <a:accent4>
          <a:srgbClr val="000000"/>
        </a:accent4>
        <a:accent5>
          <a:srgbClr val="F4AAC5"/>
        </a:accent5>
        <a:accent6>
          <a:srgbClr val="737300"/>
        </a:accent6>
        <a:hlink>
          <a:srgbClr val="F0B545"/>
        </a:hlink>
        <a:folHlink>
          <a:srgbClr val="1582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Office ​​テーマ">
  <a:themeElements>
    <a:clrScheme name="プラスグレル　白バック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69BE28"/>
      </a:accent1>
      <a:accent2>
        <a:srgbClr val="B5B6B3"/>
      </a:accent2>
      <a:accent3>
        <a:srgbClr val="A8C5EB"/>
      </a:accent3>
      <a:accent4>
        <a:srgbClr val="FADC41"/>
      </a:accent4>
      <a:accent5>
        <a:srgbClr val="05B9FF"/>
      </a:accent5>
      <a:accent6>
        <a:srgbClr val="FFA02F"/>
      </a:accent6>
      <a:hlink>
        <a:srgbClr val="255CA3"/>
      </a:hlink>
      <a:folHlink>
        <a:srgbClr val="FE19FF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>
          <a:solidFill>
            <a:srgbClr val="F9F9F9"/>
          </a:solidFill>
          <a:prstDash val="solid"/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</a:objectDefaults>
  <a:extraClrSchemeLst/>
</a:theme>
</file>

<file path=ppt/theme/theme9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067</TotalTime>
  <Words>968</Words>
  <Application>Microsoft Office PowerPoint</Application>
  <PresentationFormat>ワイド画面</PresentationFormat>
  <Paragraphs>350</Paragraphs>
  <Slides>7</Slides>
  <Notes>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7</vt:i4>
      </vt:variant>
      <vt:variant>
        <vt:lpstr>テーマ</vt:lpstr>
      </vt:variant>
      <vt:variant>
        <vt:i4>1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7</vt:i4>
      </vt:variant>
    </vt:vector>
  </HeadingPairs>
  <TitlesOfParts>
    <vt:vector size="37" baseType="lpstr">
      <vt:lpstr>Arial Unicode MS</vt:lpstr>
      <vt:lpstr>HGPｺﾞｼｯｸE</vt:lpstr>
      <vt:lpstr>HGP創英角ｺﾞｼｯｸUB</vt:lpstr>
      <vt:lpstr>Meiryo UI</vt:lpstr>
      <vt:lpstr>ＭＳ Ｐゴシック</vt:lpstr>
      <vt:lpstr>ＭＳ ゴシック</vt:lpstr>
      <vt:lpstr>Osaka</vt:lpstr>
      <vt:lpstr>メイリオ</vt:lpstr>
      <vt:lpstr>游ゴシック</vt:lpstr>
      <vt:lpstr>游ゴシック Light</vt:lpstr>
      <vt:lpstr>Arial</vt:lpstr>
      <vt:lpstr>Calibri</vt:lpstr>
      <vt:lpstr>Calibri Light</vt:lpstr>
      <vt:lpstr>Helvetica</vt:lpstr>
      <vt:lpstr>Times</vt:lpstr>
      <vt:lpstr>Verdana</vt:lpstr>
      <vt:lpstr>Wingdings</vt:lpstr>
      <vt:lpstr>新しいプレゼンテーション</vt:lpstr>
      <vt:lpstr>85_標準デザイン</vt:lpstr>
      <vt:lpstr>90_標準デザイン</vt:lpstr>
      <vt:lpstr>93_標準デザイン</vt:lpstr>
      <vt:lpstr>86_標準デザイン</vt:lpstr>
      <vt:lpstr>91_標準デザイン</vt:lpstr>
      <vt:lpstr>2_Office テーマ</vt:lpstr>
      <vt:lpstr>4_Office ​​テーマ</vt:lpstr>
      <vt:lpstr>Office ​​テーマ</vt:lpstr>
      <vt:lpstr>17_Office テーマ</vt:lpstr>
      <vt:lpstr>4_Office テーマ</vt:lpstr>
      <vt:lpstr>1_Office テーマ</vt:lpstr>
      <vt:lpstr>think-cell Slide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Hiroaki Shimokawa</dc:creator>
  <cp:lastModifiedBy>Windows User</cp:lastModifiedBy>
  <cp:revision>2753</cp:revision>
  <dcterms:created xsi:type="dcterms:W3CDTF">2003-09-16T23:26:14Z</dcterms:created>
  <dcterms:modified xsi:type="dcterms:W3CDTF">2023-08-23T05:22:52Z</dcterms:modified>
</cp:coreProperties>
</file>